
<file path=[Content_Types].xml><?xml version="1.0" encoding="utf-8"?>
<Types xmlns="http://schemas.openxmlformats.org/package/2006/content-types">
  <Default Extension="png" ContentType="image/png"/>
  <Default Extension="tmp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1.xml" ContentType="application/vnd.openxmlformats-officedocument.presentationml.tags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1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  <p:sldMasterId id="2147483675" r:id="rId2"/>
    <p:sldMasterId id="2147483682" r:id="rId3"/>
    <p:sldMasterId id="2147483705" r:id="rId4"/>
    <p:sldMasterId id="2147483718" r:id="rId5"/>
    <p:sldMasterId id="2147483725" r:id="rId6"/>
  </p:sldMasterIdLst>
  <p:notesMasterIdLst>
    <p:notesMasterId r:id="rId25"/>
  </p:notesMasterIdLst>
  <p:sldIdLst>
    <p:sldId id="1402" r:id="rId7"/>
    <p:sldId id="1418" r:id="rId8"/>
    <p:sldId id="1403" r:id="rId9"/>
    <p:sldId id="1404" r:id="rId10"/>
    <p:sldId id="1405" r:id="rId11"/>
    <p:sldId id="1420" r:id="rId12"/>
    <p:sldId id="1419" r:id="rId13"/>
    <p:sldId id="1406" r:id="rId14"/>
    <p:sldId id="1407" r:id="rId15"/>
    <p:sldId id="1408" r:id="rId16"/>
    <p:sldId id="1409" r:id="rId17"/>
    <p:sldId id="1410" r:id="rId18"/>
    <p:sldId id="1411" r:id="rId19"/>
    <p:sldId id="1413" r:id="rId20"/>
    <p:sldId id="1414" r:id="rId21"/>
    <p:sldId id="1415" r:id="rId22"/>
    <p:sldId id="1416" r:id="rId23"/>
    <p:sldId id="1417" r:id="rId24"/>
  </p:sldIdLst>
  <p:sldSz cx="12192000" cy="6858000"/>
  <p:notesSz cx="6858000" cy="9144000"/>
  <p:custDataLst>
    <p:tags r:id="rId2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1145"/>
    <a:srgbClr val="305983"/>
    <a:srgbClr val="E0D764"/>
    <a:srgbClr val="FF5050"/>
    <a:srgbClr val="00FF00"/>
    <a:srgbClr val="00CD61"/>
    <a:srgbClr val="FA9106"/>
    <a:srgbClr val="E6E6E6"/>
    <a:srgbClr val="BFBFBF"/>
    <a:srgbClr val="E7F6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5501" autoAdjust="0"/>
  </p:normalViewPr>
  <p:slideViewPr>
    <p:cSldViewPr snapToGrid="0">
      <p:cViewPr varScale="1">
        <p:scale>
          <a:sx n="103" d="100"/>
          <a:sy n="103" d="100"/>
        </p:scale>
        <p:origin x="120" y="204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8905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43</c:v>
                </c:pt>
                <c:pt idx="1">
                  <c:v>44244</c:v>
                </c:pt>
                <c:pt idx="2">
                  <c:v>44245</c:v>
                </c:pt>
                <c:pt idx="3">
                  <c:v>44246</c:v>
                </c:pt>
                <c:pt idx="4">
                  <c:v>44247</c:v>
                </c:pt>
                <c:pt idx="5">
                  <c:v>44248</c:v>
                </c:pt>
                <c:pt idx="6">
                  <c:v>44249</c:v>
                </c:pt>
                <c:pt idx="7">
                  <c:v>44250</c:v>
                </c:pt>
                <c:pt idx="8">
                  <c:v>44251</c:v>
                </c:pt>
                <c:pt idx="9">
                  <c:v>44252</c:v>
                </c:pt>
                <c:pt idx="10">
                  <c:v>44253</c:v>
                </c:pt>
                <c:pt idx="11">
                  <c:v>44254</c:v>
                </c:pt>
                <c:pt idx="12">
                  <c:v>44255</c:v>
                </c:pt>
                <c:pt idx="13">
                  <c:v>44256</c:v>
                </c:pt>
                <c:pt idx="14">
                  <c:v>44257</c:v>
                </c:pt>
                <c:pt idx="15">
                  <c:v>44258</c:v>
                </c:pt>
                <c:pt idx="16">
                  <c:v>44259</c:v>
                </c:pt>
                <c:pt idx="17">
                  <c:v>44260</c:v>
                </c:pt>
                <c:pt idx="18">
                  <c:v>44261</c:v>
                </c:pt>
                <c:pt idx="19">
                  <c:v>44262</c:v>
                </c:pt>
                <c:pt idx="20">
                  <c:v>44263</c:v>
                </c:pt>
                <c:pt idx="21">
                  <c:v>44264</c:v>
                </c:pt>
                <c:pt idx="22">
                  <c:v>44265</c:v>
                </c:pt>
                <c:pt idx="23">
                  <c:v>44266</c:v>
                </c:pt>
                <c:pt idx="24">
                  <c:v>44267</c:v>
                </c:pt>
                <c:pt idx="25">
                  <c:v>44268</c:v>
                </c:pt>
                <c:pt idx="26">
                  <c:v>44269</c:v>
                </c:pt>
                <c:pt idx="27">
                  <c:v>44270</c:v>
                </c:pt>
                <c:pt idx="28">
                  <c:v>44271</c:v>
                </c:pt>
                <c:pt idx="29">
                  <c:v>44272</c:v>
                </c:pt>
                <c:pt idx="30">
                  <c:v>44273</c:v>
                </c:pt>
                <c:pt idx="31">
                  <c:v>44274</c:v>
                </c:pt>
                <c:pt idx="32">
                  <c:v>44275</c:v>
                </c:pt>
                <c:pt idx="33">
                  <c:v>44276</c:v>
                </c:pt>
                <c:pt idx="34">
                  <c:v>44277</c:v>
                </c:pt>
                <c:pt idx="35">
                  <c:v>44278</c:v>
                </c:pt>
                <c:pt idx="36">
                  <c:v>44279</c:v>
                </c:pt>
                <c:pt idx="37">
                  <c:v>44280</c:v>
                </c:pt>
                <c:pt idx="38">
                  <c:v>44281</c:v>
                </c:pt>
                <c:pt idx="39">
                  <c:v>44282</c:v>
                </c:pt>
                <c:pt idx="40">
                  <c:v>44283</c:v>
                </c:pt>
                <c:pt idx="41">
                  <c:v>44284</c:v>
                </c:pt>
                <c:pt idx="42">
                  <c:v>44285</c:v>
                </c:pt>
                <c:pt idx="43">
                  <c:v>44286</c:v>
                </c:pt>
                <c:pt idx="44">
                  <c:v>44287</c:v>
                </c:pt>
                <c:pt idx="45">
                  <c:v>44288</c:v>
                </c:pt>
                <c:pt idx="46">
                  <c:v>44289</c:v>
                </c:pt>
                <c:pt idx="47">
                  <c:v>44290</c:v>
                </c:pt>
                <c:pt idx="48">
                  <c:v>44291</c:v>
                </c:pt>
                <c:pt idx="49">
                  <c:v>44292</c:v>
                </c:pt>
                <c:pt idx="50">
                  <c:v>44293</c:v>
                </c:pt>
                <c:pt idx="51">
                  <c:v>44294</c:v>
                </c:pt>
                <c:pt idx="52">
                  <c:v>44295</c:v>
                </c:pt>
                <c:pt idx="53">
                  <c:v>44296</c:v>
                </c:pt>
                <c:pt idx="54">
                  <c:v>44297</c:v>
                </c:pt>
                <c:pt idx="55">
                  <c:v>44298</c:v>
                </c:pt>
                <c:pt idx="56">
                  <c:v>44299</c:v>
                </c:pt>
                <c:pt idx="57">
                  <c:v>44300</c:v>
                </c:pt>
                <c:pt idx="58">
                  <c:v>44301</c:v>
                </c:pt>
                <c:pt idx="59">
                  <c:v>44302</c:v>
                </c:pt>
                <c:pt idx="60">
                  <c:v>44303</c:v>
                </c:pt>
                <c:pt idx="61">
                  <c:v>44304</c:v>
                </c:pt>
                <c:pt idx="62">
                  <c:v>44305</c:v>
                </c:pt>
                <c:pt idx="63">
                  <c:v>44306</c:v>
                </c:pt>
                <c:pt idx="64">
                  <c:v>44307</c:v>
                </c:pt>
                <c:pt idx="65">
                  <c:v>44308</c:v>
                </c:pt>
                <c:pt idx="66">
                  <c:v>44309</c:v>
                </c:pt>
                <c:pt idx="67">
                  <c:v>44310</c:v>
                </c:pt>
                <c:pt idx="68">
                  <c:v>44311</c:v>
                </c:pt>
                <c:pt idx="69">
                  <c:v>44312</c:v>
                </c:pt>
                <c:pt idx="70">
                  <c:v>44313</c:v>
                </c:pt>
                <c:pt idx="71">
                  <c:v>44314</c:v>
                </c:pt>
                <c:pt idx="72">
                  <c:v>44315</c:v>
                </c:pt>
                <c:pt idx="73">
                  <c:v>44316</c:v>
                </c:pt>
                <c:pt idx="74">
                  <c:v>44317</c:v>
                </c:pt>
                <c:pt idx="75">
                  <c:v>44318</c:v>
                </c:pt>
                <c:pt idx="76">
                  <c:v>44319</c:v>
                </c:pt>
                <c:pt idx="77">
                  <c:v>44320</c:v>
                </c:pt>
                <c:pt idx="78">
                  <c:v>44321</c:v>
                </c:pt>
                <c:pt idx="79">
                  <c:v>44322</c:v>
                </c:pt>
                <c:pt idx="80">
                  <c:v>44323</c:v>
                </c:pt>
                <c:pt idx="81">
                  <c:v>44324</c:v>
                </c:pt>
                <c:pt idx="82">
                  <c:v>44325</c:v>
                </c:pt>
                <c:pt idx="83">
                  <c:v>44326</c:v>
                </c:pt>
                <c:pt idx="84">
                  <c:v>44327</c:v>
                </c:pt>
                <c:pt idx="85">
                  <c:v>44328</c:v>
                </c:pt>
                <c:pt idx="86">
                  <c:v>44329</c:v>
                </c:pt>
                <c:pt idx="87">
                  <c:v>44330</c:v>
                </c:pt>
                <c:pt idx="88">
                  <c:v>44331</c:v>
                </c:pt>
                <c:pt idx="89">
                  <c:v>44332</c:v>
                </c:pt>
                <c:pt idx="90">
                  <c:v>44333</c:v>
                </c:pt>
                <c:pt idx="91">
                  <c:v>44334</c:v>
                </c:pt>
                <c:pt idx="92">
                  <c:v>44335</c:v>
                </c:pt>
                <c:pt idx="93">
                  <c:v>44336</c:v>
                </c:pt>
                <c:pt idx="94">
                  <c:v>44337</c:v>
                </c:pt>
                <c:pt idx="95">
                  <c:v>44338</c:v>
                </c:pt>
                <c:pt idx="96">
                  <c:v>44339</c:v>
                </c:pt>
                <c:pt idx="97">
                  <c:v>44340</c:v>
                </c:pt>
                <c:pt idx="98">
                  <c:v>44341</c:v>
                </c:pt>
                <c:pt idx="99">
                  <c:v>44342</c:v>
                </c:pt>
                <c:pt idx="100">
                  <c:v>44343</c:v>
                </c:pt>
                <c:pt idx="101">
                  <c:v>44344</c:v>
                </c:pt>
                <c:pt idx="102">
                  <c:v>44345</c:v>
                </c:pt>
                <c:pt idx="103">
                  <c:v>44346</c:v>
                </c:pt>
                <c:pt idx="104">
                  <c:v>44347</c:v>
                </c:pt>
                <c:pt idx="105">
                  <c:v>44348</c:v>
                </c:pt>
                <c:pt idx="106">
                  <c:v>44349</c:v>
                </c:pt>
                <c:pt idx="107">
                  <c:v>44350</c:v>
                </c:pt>
                <c:pt idx="108">
                  <c:v>44351</c:v>
                </c:pt>
                <c:pt idx="109">
                  <c:v>44352</c:v>
                </c:pt>
                <c:pt idx="110">
                  <c:v>44353</c:v>
                </c:pt>
                <c:pt idx="111">
                  <c:v>44354</c:v>
                </c:pt>
                <c:pt idx="112">
                  <c:v>44355</c:v>
                </c:pt>
                <c:pt idx="113">
                  <c:v>44356</c:v>
                </c:pt>
                <c:pt idx="114">
                  <c:v>44357</c:v>
                </c:pt>
                <c:pt idx="115">
                  <c:v>44358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12609</c:v>
                </c:pt>
                <c:pt idx="1">
                  <c:v>10939</c:v>
                </c:pt>
                <c:pt idx="2">
                  <c:v>11704</c:v>
                </c:pt>
                <c:pt idx="3">
                  <c:v>11287</c:v>
                </c:pt>
                <c:pt idx="4">
                  <c:v>6774</c:v>
                </c:pt>
                <c:pt idx="5">
                  <c:v>4068</c:v>
                </c:pt>
                <c:pt idx="6">
                  <c:v>11410</c:v>
                </c:pt>
                <c:pt idx="7">
                  <c:v>15840</c:v>
                </c:pt>
                <c:pt idx="8">
                  <c:v>13795</c:v>
                </c:pt>
                <c:pt idx="9">
                  <c:v>14588</c:v>
                </c:pt>
                <c:pt idx="10">
                  <c:v>14776</c:v>
                </c:pt>
                <c:pt idx="11">
                  <c:v>7824</c:v>
                </c:pt>
                <c:pt idx="12">
                  <c:v>4588</c:v>
                </c:pt>
                <c:pt idx="13">
                  <c:v>12325</c:v>
                </c:pt>
                <c:pt idx="14">
                  <c:v>16781</c:v>
                </c:pt>
                <c:pt idx="15">
                  <c:v>15240</c:v>
                </c:pt>
                <c:pt idx="16">
                  <c:v>14649</c:v>
                </c:pt>
                <c:pt idx="17">
                  <c:v>13170</c:v>
                </c:pt>
                <c:pt idx="18">
                  <c:v>9131</c:v>
                </c:pt>
                <c:pt idx="19">
                  <c:v>3983</c:v>
                </c:pt>
                <c:pt idx="20">
                  <c:v>10654</c:v>
                </c:pt>
                <c:pt idx="21">
                  <c:v>15361</c:v>
                </c:pt>
                <c:pt idx="22">
                  <c:v>14538</c:v>
                </c:pt>
                <c:pt idx="23">
                  <c:v>11246</c:v>
                </c:pt>
                <c:pt idx="24">
                  <c:v>14977</c:v>
                </c:pt>
                <c:pt idx="25">
                  <c:v>7027</c:v>
                </c:pt>
                <c:pt idx="26">
                  <c:v>3334</c:v>
                </c:pt>
                <c:pt idx="27">
                  <c:v>10630</c:v>
                </c:pt>
                <c:pt idx="28">
                  <c:v>14027</c:v>
                </c:pt>
                <c:pt idx="29">
                  <c:v>12029</c:v>
                </c:pt>
                <c:pt idx="30">
                  <c:v>10661</c:v>
                </c:pt>
                <c:pt idx="31">
                  <c:v>9709</c:v>
                </c:pt>
                <c:pt idx="32">
                  <c:v>5466</c:v>
                </c:pt>
                <c:pt idx="33">
                  <c:v>2391</c:v>
                </c:pt>
                <c:pt idx="34">
                  <c:v>8239</c:v>
                </c:pt>
                <c:pt idx="35">
                  <c:v>10968</c:v>
                </c:pt>
                <c:pt idx="36">
                  <c:v>8851</c:v>
                </c:pt>
                <c:pt idx="37">
                  <c:v>7926</c:v>
                </c:pt>
                <c:pt idx="38">
                  <c:v>7712</c:v>
                </c:pt>
                <c:pt idx="39">
                  <c:v>3970</c:v>
                </c:pt>
                <c:pt idx="40">
                  <c:v>1744</c:v>
                </c:pt>
                <c:pt idx="41">
                  <c:v>6936</c:v>
                </c:pt>
                <c:pt idx="42">
                  <c:v>8630</c:v>
                </c:pt>
                <c:pt idx="43">
                  <c:v>7266</c:v>
                </c:pt>
                <c:pt idx="44">
                  <c:v>6245</c:v>
                </c:pt>
                <c:pt idx="45">
                  <c:v>3837</c:v>
                </c:pt>
                <c:pt idx="46">
                  <c:v>2160</c:v>
                </c:pt>
                <c:pt idx="47">
                  <c:v>1925</c:v>
                </c:pt>
                <c:pt idx="48">
                  <c:v>1419</c:v>
                </c:pt>
                <c:pt idx="49">
                  <c:v>5584</c:v>
                </c:pt>
                <c:pt idx="50">
                  <c:v>7052</c:v>
                </c:pt>
                <c:pt idx="51">
                  <c:v>5283</c:v>
                </c:pt>
                <c:pt idx="52">
                  <c:v>4819</c:v>
                </c:pt>
                <c:pt idx="53">
                  <c:v>2204</c:v>
                </c:pt>
                <c:pt idx="54">
                  <c:v>985</c:v>
                </c:pt>
                <c:pt idx="55">
                  <c:v>3868</c:v>
                </c:pt>
                <c:pt idx="56">
                  <c:v>5055</c:v>
                </c:pt>
                <c:pt idx="57">
                  <c:v>3716</c:v>
                </c:pt>
                <c:pt idx="58">
                  <c:v>3263</c:v>
                </c:pt>
                <c:pt idx="59">
                  <c:v>3217</c:v>
                </c:pt>
                <c:pt idx="60">
                  <c:v>1541</c:v>
                </c:pt>
                <c:pt idx="61">
                  <c:v>833</c:v>
                </c:pt>
                <c:pt idx="62">
                  <c:v>3341</c:v>
                </c:pt>
                <c:pt idx="63">
                  <c:v>3816</c:v>
                </c:pt>
                <c:pt idx="64">
                  <c:v>2951</c:v>
                </c:pt>
                <c:pt idx="65">
                  <c:v>2628</c:v>
                </c:pt>
                <c:pt idx="66">
                  <c:v>2601</c:v>
                </c:pt>
                <c:pt idx="67">
                  <c:v>1308</c:v>
                </c:pt>
                <c:pt idx="68">
                  <c:v>825</c:v>
                </c:pt>
                <c:pt idx="69">
                  <c:v>2579</c:v>
                </c:pt>
                <c:pt idx="70">
                  <c:v>3239</c:v>
                </c:pt>
                <c:pt idx="71">
                  <c:v>2488</c:v>
                </c:pt>
                <c:pt idx="72">
                  <c:v>2229</c:v>
                </c:pt>
                <c:pt idx="73">
                  <c:v>2167</c:v>
                </c:pt>
                <c:pt idx="74">
                  <c:v>1171</c:v>
                </c:pt>
                <c:pt idx="75">
                  <c:v>508</c:v>
                </c:pt>
                <c:pt idx="76">
                  <c:v>2219</c:v>
                </c:pt>
                <c:pt idx="77">
                  <c:v>2415</c:v>
                </c:pt>
                <c:pt idx="78">
                  <c:v>1873</c:v>
                </c:pt>
                <c:pt idx="79">
                  <c:v>1572</c:v>
                </c:pt>
                <c:pt idx="80">
                  <c:v>1638</c:v>
                </c:pt>
                <c:pt idx="81">
                  <c:v>725</c:v>
                </c:pt>
                <c:pt idx="82">
                  <c:v>383</c:v>
                </c:pt>
                <c:pt idx="83">
                  <c:v>1544</c:v>
                </c:pt>
                <c:pt idx="84">
                  <c:v>1690</c:v>
                </c:pt>
                <c:pt idx="85">
                  <c:v>1264</c:v>
                </c:pt>
                <c:pt idx="86">
                  <c:v>1223</c:v>
                </c:pt>
                <c:pt idx="87">
                  <c:v>1051</c:v>
                </c:pt>
                <c:pt idx="88">
                  <c:v>597</c:v>
                </c:pt>
                <c:pt idx="89">
                  <c:v>257</c:v>
                </c:pt>
                <c:pt idx="90">
                  <c:v>1128</c:v>
                </c:pt>
                <c:pt idx="91">
                  <c:v>1199</c:v>
                </c:pt>
                <c:pt idx="92">
                  <c:v>778</c:v>
                </c:pt>
                <c:pt idx="93">
                  <c:v>678</c:v>
                </c:pt>
                <c:pt idx="94">
                  <c:v>671</c:v>
                </c:pt>
                <c:pt idx="95">
                  <c:v>333</c:v>
                </c:pt>
                <c:pt idx="96">
                  <c:v>196</c:v>
                </c:pt>
                <c:pt idx="97">
                  <c:v>696</c:v>
                </c:pt>
                <c:pt idx="98">
                  <c:v>660</c:v>
                </c:pt>
                <c:pt idx="99">
                  <c:v>538</c:v>
                </c:pt>
                <c:pt idx="100">
                  <c:v>505</c:v>
                </c:pt>
                <c:pt idx="101">
                  <c:v>452</c:v>
                </c:pt>
                <c:pt idx="102">
                  <c:v>222</c:v>
                </c:pt>
                <c:pt idx="103">
                  <c:v>112</c:v>
                </c:pt>
                <c:pt idx="104">
                  <c:v>512</c:v>
                </c:pt>
                <c:pt idx="105">
                  <c:v>477</c:v>
                </c:pt>
                <c:pt idx="106">
                  <c:v>350</c:v>
                </c:pt>
                <c:pt idx="107">
                  <c:v>424</c:v>
                </c:pt>
                <c:pt idx="108">
                  <c:v>319</c:v>
                </c:pt>
                <c:pt idx="109">
                  <c:v>152</c:v>
                </c:pt>
                <c:pt idx="110">
                  <c:v>96</c:v>
                </c:pt>
                <c:pt idx="111">
                  <c:v>296</c:v>
                </c:pt>
                <c:pt idx="112">
                  <c:v>384</c:v>
                </c:pt>
                <c:pt idx="113">
                  <c:v>250</c:v>
                </c:pt>
                <c:pt idx="114">
                  <c:v>189</c:v>
                </c:pt>
                <c:pt idx="115">
                  <c:v>1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  <c:pt idx="61">
                  <c:v>44317</c:v>
                </c:pt>
                <c:pt idx="62">
                  <c:v>44318</c:v>
                </c:pt>
                <c:pt idx="63">
                  <c:v>44319</c:v>
                </c:pt>
                <c:pt idx="64">
                  <c:v>44320</c:v>
                </c:pt>
                <c:pt idx="65">
                  <c:v>44321</c:v>
                </c:pt>
                <c:pt idx="66">
                  <c:v>44322</c:v>
                </c:pt>
                <c:pt idx="67">
                  <c:v>44323</c:v>
                </c:pt>
                <c:pt idx="68">
                  <c:v>44324</c:v>
                </c:pt>
                <c:pt idx="69">
                  <c:v>44325</c:v>
                </c:pt>
                <c:pt idx="70">
                  <c:v>44326</c:v>
                </c:pt>
                <c:pt idx="71">
                  <c:v>44327</c:v>
                </c:pt>
                <c:pt idx="72">
                  <c:v>44328</c:v>
                </c:pt>
                <c:pt idx="73">
                  <c:v>44329</c:v>
                </c:pt>
                <c:pt idx="74">
                  <c:v>44330</c:v>
                </c:pt>
                <c:pt idx="75">
                  <c:v>44331</c:v>
                </c:pt>
                <c:pt idx="76">
                  <c:v>44332</c:v>
                </c:pt>
                <c:pt idx="77">
                  <c:v>44333</c:v>
                </c:pt>
                <c:pt idx="78">
                  <c:v>44334</c:v>
                </c:pt>
                <c:pt idx="79">
                  <c:v>44335</c:v>
                </c:pt>
                <c:pt idx="80">
                  <c:v>44336</c:v>
                </c:pt>
                <c:pt idx="81">
                  <c:v>44337</c:v>
                </c:pt>
                <c:pt idx="82">
                  <c:v>44338</c:v>
                </c:pt>
                <c:pt idx="83">
                  <c:v>44339</c:v>
                </c:pt>
                <c:pt idx="84">
                  <c:v>44340</c:v>
                </c:pt>
                <c:pt idx="85">
                  <c:v>44341</c:v>
                </c:pt>
                <c:pt idx="86">
                  <c:v>44342</c:v>
                </c:pt>
                <c:pt idx="87">
                  <c:v>44343</c:v>
                </c:pt>
                <c:pt idx="88">
                  <c:v>44344</c:v>
                </c:pt>
                <c:pt idx="89">
                  <c:v>44345</c:v>
                </c:pt>
                <c:pt idx="90">
                  <c:v>44346</c:v>
                </c:pt>
                <c:pt idx="91">
                  <c:v>44347</c:v>
                </c:pt>
                <c:pt idx="92">
                  <c:v>44348</c:v>
                </c:pt>
                <c:pt idx="93">
                  <c:v>44349</c:v>
                </c:pt>
                <c:pt idx="94">
                  <c:v>44350</c:v>
                </c:pt>
                <c:pt idx="95">
                  <c:v>44351</c:v>
                </c:pt>
                <c:pt idx="96">
                  <c:v>44352</c:v>
                </c:pt>
                <c:pt idx="97">
                  <c:v>44353</c:v>
                </c:pt>
                <c:pt idx="98">
                  <c:v>44354</c:v>
                </c:pt>
                <c:pt idx="99">
                  <c:v>44355</c:v>
                </c:pt>
                <c:pt idx="100">
                  <c:v>44356</c:v>
                </c:pt>
                <c:pt idx="101">
                  <c:v>44357</c:v>
                </c:pt>
                <c:pt idx="102">
                  <c:v>44358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851</c:v>
                </c:pt>
                <c:pt idx="1">
                  <c:v>2399</c:v>
                </c:pt>
                <c:pt idx="2">
                  <c:v>2167</c:v>
                </c:pt>
                <c:pt idx="3">
                  <c:v>2054</c:v>
                </c:pt>
                <c:pt idx="4">
                  <c:v>1877</c:v>
                </c:pt>
                <c:pt idx="5">
                  <c:v>1311</c:v>
                </c:pt>
                <c:pt idx="6">
                  <c:v>645</c:v>
                </c:pt>
                <c:pt idx="7">
                  <c:v>1543</c:v>
                </c:pt>
                <c:pt idx="8">
                  <c:v>1983</c:v>
                </c:pt>
                <c:pt idx="9">
                  <c:v>2017</c:v>
                </c:pt>
                <c:pt idx="10">
                  <c:v>1628</c:v>
                </c:pt>
                <c:pt idx="11">
                  <c:v>2249</c:v>
                </c:pt>
                <c:pt idx="12">
                  <c:v>994</c:v>
                </c:pt>
                <c:pt idx="13">
                  <c:v>541</c:v>
                </c:pt>
                <c:pt idx="14">
                  <c:v>1624</c:v>
                </c:pt>
                <c:pt idx="15">
                  <c:v>2050</c:v>
                </c:pt>
                <c:pt idx="16">
                  <c:v>1787</c:v>
                </c:pt>
                <c:pt idx="17">
                  <c:v>1585</c:v>
                </c:pt>
                <c:pt idx="18">
                  <c:v>1430</c:v>
                </c:pt>
                <c:pt idx="19">
                  <c:v>843</c:v>
                </c:pt>
                <c:pt idx="20">
                  <c:v>440</c:v>
                </c:pt>
                <c:pt idx="21">
                  <c:v>1211</c:v>
                </c:pt>
                <c:pt idx="22">
                  <c:v>1621</c:v>
                </c:pt>
                <c:pt idx="23">
                  <c:v>1320</c:v>
                </c:pt>
                <c:pt idx="24">
                  <c:v>1288</c:v>
                </c:pt>
                <c:pt idx="25">
                  <c:v>1176</c:v>
                </c:pt>
                <c:pt idx="26">
                  <c:v>641</c:v>
                </c:pt>
                <c:pt idx="27">
                  <c:v>326</c:v>
                </c:pt>
                <c:pt idx="28">
                  <c:v>1117</c:v>
                </c:pt>
                <c:pt idx="29">
                  <c:v>1294</c:v>
                </c:pt>
                <c:pt idx="30">
                  <c:v>1193</c:v>
                </c:pt>
                <c:pt idx="31">
                  <c:v>989</c:v>
                </c:pt>
                <c:pt idx="32">
                  <c:v>550</c:v>
                </c:pt>
                <c:pt idx="33">
                  <c:v>377</c:v>
                </c:pt>
                <c:pt idx="34">
                  <c:v>327</c:v>
                </c:pt>
                <c:pt idx="35">
                  <c:v>290</c:v>
                </c:pt>
                <c:pt idx="36">
                  <c:v>816</c:v>
                </c:pt>
                <c:pt idx="37">
                  <c:v>980</c:v>
                </c:pt>
                <c:pt idx="38">
                  <c:v>782</c:v>
                </c:pt>
                <c:pt idx="39">
                  <c:v>716</c:v>
                </c:pt>
                <c:pt idx="40">
                  <c:v>363</c:v>
                </c:pt>
                <c:pt idx="41">
                  <c:v>202</c:v>
                </c:pt>
                <c:pt idx="42">
                  <c:v>578</c:v>
                </c:pt>
                <c:pt idx="43">
                  <c:v>690</c:v>
                </c:pt>
                <c:pt idx="44">
                  <c:v>581</c:v>
                </c:pt>
                <c:pt idx="45">
                  <c:v>468</c:v>
                </c:pt>
                <c:pt idx="46">
                  <c:v>513</c:v>
                </c:pt>
                <c:pt idx="47">
                  <c:v>245</c:v>
                </c:pt>
                <c:pt idx="48">
                  <c:v>144</c:v>
                </c:pt>
                <c:pt idx="49">
                  <c:v>469</c:v>
                </c:pt>
                <c:pt idx="50">
                  <c:v>490</c:v>
                </c:pt>
                <c:pt idx="51">
                  <c:v>412</c:v>
                </c:pt>
                <c:pt idx="52">
                  <c:v>400</c:v>
                </c:pt>
                <c:pt idx="53">
                  <c:v>335</c:v>
                </c:pt>
                <c:pt idx="54">
                  <c:v>156</c:v>
                </c:pt>
                <c:pt idx="55">
                  <c:v>120</c:v>
                </c:pt>
                <c:pt idx="56">
                  <c:v>371</c:v>
                </c:pt>
                <c:pt idx="57">
                  <c:v>384</c:v>
                </c:pt>
                <c:pt idx="58">
                  <c:v>330</c:v>
                </c:pt>
                <c:pt idx="59">
                  <c:v>302</c:v>
                </c:pt>
                <c:pt idx="60">
                  <c:v>303</c:v>
                </c:pt>
                <c:pt idx="61">
                  <c:v>172</c:v>
                </c:pt>
                <c:pt idx="62">
                  <c:v>86</c:v>
                </c:pt>
                <c:pt idx="63">
                  <c:v>299</c:v>
                </c:pt>
                <c:pt idx="64">
                  <c:v>310</c:v>
                </c:pt>
                <c:pt idx="65">
                  <c:v>251</c:v>
                </c:pt>
                <c:pt idx="66">
                  <c:v>223</c:v>
                </c:pt>
                <c:pt idx="67">
                  <c:v>179</c:v>
                </c:pt>
                <c:pt idx="68">
                  <c:v>91</c:v>
                </c:pt>
                <c:pt idx="69">
                  <c:v>56</c:v>
                </c:pt>
                <c:pt idx="70">
                  <c:v>214</c:v>
                </c:pt>
                <c:pt idx="71">
                  <c:v>184</c:v>
                </c:pt>
                <c:pt idx="72">
                  <c:v>133</c:v>
                </c:pt>
                <c:pt idx="73">
                  <c:v>155</c:v>
                </c:pt>
                <c:pt idx="74">
                  <c:v>132</c:v>
                </c:pt>
                <c:pt idx="75">
                  <c:v>70</c:v>
                </c:pt>
                <c:pt idx="76">
                  <c:v>29</c:v>
                </c:pt>
                <c:pt idx="77">
                  <c:v>117</c:v>
                </c:pt>
                <c:pt idx="78">
                  <c:v>139</c:v>
                </c:pt>
                <c:pt idx="79">
                  <c:v>92</c:v>
                </c:pt>
                <c:pt idx="80">
                  <c:v>91</c:v>
                </c:pt>
                <c:pt idx="81">
                  <c:v>76</c:v>
                </c:pt>
                <c:pt idx="82">
                  <c:v>32</c:v>
                </c:pt>
                <c:pt idx="83">
                  <c:v>19</c:v>
                </c:pt>
                <c:pt idx="84">
                  <c:v>68</c:v>
                </c:pt>
                <c:pt idx="85">
                  <c:v>80</c:v>
                </c:pt>
                <c:pt idx="86">
                  <c:v>59</c:v>
                </c:pt>
                <c:pt idx="87">
                  <c:v>48</c:v>
                </c:pt>
                <c:pt idx="88">
                  <c:v>59</c:v>
                </c:pt>
                <c:pt idx="89">
                  <c:v>19</c:v>
                </c:pt>
                <c:pt idx="90">
                  <c:v>12</c:v>
                </c:pt>
                <c:pt idx="91">
                  <c:v>49</c:v>
                </c:pt>
                <c:pt idx="92">
                  <c:v>40</c:v>
                </c:pt>
                <c:pt idx="93">
                  <c:v>33</c:v>
                </c:pt>
                <c:pt idx="94">
                  <c:v>44</c:v>
                </c:pt>
                <c:pt idx="95">
                  <c:v>31</c:v>
                </c:pt>
                <c:pt idx="96">
                  <c:v>9</c:v>
                </c:pt>
                <c:pt idx="97">
                  <c:v>4</c:v>
                </c:pt>
                <c:pt idx="98">
                  <c:v>28</c:v>
                </c:pt>
                <c:pt idx="99">
                  <c:v>23</c:v>
                </c:pt>
                <c:pt idx="100">
                  <c:v>22</c:v>
                </c:pt>
                <c:pt idx="101">
                  <c:v>23</c:v>
                </c:pt>
                <c:pt idx="10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BD4-9376-87441B21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7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  <c:pt idx="61">
                  <c:v>44317</c:v>
                </c:pt>
                <c:pt idx="62">
                  <c:v>44318</c:v>
                </c:pt>
                <c:pt idx="63">
                  <c:v>44319</c:v>
                </c:pt>
                <c:pt idx="64">
                  <c:v>44320</c:v>
                </c:pt>
                <c:pt idx="65">
                  <c:v>44321</c:v>
                </c:pt>
                <c:pt idx="66">
                  <c:v>44322</c:v>
                </c:pt>
                <c:pt idx="67">
                  <c:v>44323</c:v>
                </c:pt>
                <c:pt idx="68">
                  <c:v>44324</c:v>
                </c:pt>
                <c:pt idx="69">
                  <c:v>44325</c:v>
                </c:pt>
                <c:pt idx="70">
                  <c:v>44326</c:v>
                </c:pt>
                <c:pt idx="71">
                  <c:v>44327</c:v>
                </c:pt>
                <c:pt idx="72">
                  <c:v>44328</c:v>
                </c:pt>
                <c:pt idx="73">
                  <c:v>44329</c:v>
                </c:pt>
                <c:pt idx="74">
                  <c:v>44330</c:v>
                </c:pt>
                <c:pt idx="75">
                  <c:v>44331</c:v>
                </c:pt>
                <c:pt idx="76">
                  <c:v>44332</c:v>
                </c:pt>
                <c:pt idx="77">
                  <c:v>44333</c:v>
                </c:pt>
                <c:pt idx="78">
                  <c:v>44334</c:v>
                </c:pt>
                <c:pt idx="79">
                  <c:v>44335</c:v>
                </c:pt>
                <c:pt idx="80">
                  <c:v>44336</c:v>
                </c:pt>
                <c:pt idx="81">
                  <c:v>44337</c:v>
                </c:pt>
                <c:pt idx="82">
                  <c:v>44338</c:v>
                </c:pt>
                <c:pt idx="83">
                  <c:v>44339</c:v>
                </c:pt>
                <c:pt idx="84">
                  <c:v>44340</c:v>
                </c:pt>
                <c:pt idx="85">
                  <c:v>44341</c:v>
                </c:pt>
                <c:pt idx="86">
                  <c:v>44342</c:v>
                </c:pt>
                <c:pt idx="87">
                  <c:v>44343</c:v>
                </c:pt>
                <c:pt idx="88">
                  <c:v>44344</c:v>
                </c:pt>
                <c:pt idx="89">
                  <c:v>44345</c:v>
                </c:pt>
                <c:pt idx="90">
                  <c:v>44346</c:v>
                </c:pt>
                <c:pt idx="91">
                  <c:v>44347</c:v>
                </c:pt>
                <c:pt idx="92">
                  <c:v>44348</c:v>
                </c:pt>
                <c:pt idx="93">
                  <c:v>44349</c:v>
                </c:pt>
                <c:pt idx="94">
                  <c:v>44350</c:v>
                </c:pt>
                <c:pt idx="95">
                  <c:v>44351</c:v>
                </c:pt>
                <c:pt idx="96">
                  <c:v>44352</c:v>
                </c:pt>
                <c:pt idx="97">
                  <c:v>44353</c:v>
                </c:pt>
                <c:pt idx="98">
                  <c:v>44354</c:v>
                </c:pt>
                <c:pt idx="99">
                  <c:v>44355</c:v>
                </c:pt>
                <c:pt idx="100">
                  <c:v>44356</c:v>
                </c:pt>
                <c:pt idx="101">
                  <c:v>44357</c:v>
                </c:pt>
                <c:pt idx="102">
                  <c:v>44358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773</c:v>
                </c:pt>
                <c:pt idx="1">
                  <c:v>917</c:v>
                </c:pt>
                <c:pt idx="2">
                  <c:v>853</c:v>
                </c:pt>
                <c:pt idx="3">
                  <c:v>747</c:v>
                </c:pt>
                <c:pt idx="4">
                  <c:v>713</c:v>
                </c:pt>
                <c:pt idx="5">
                  <c:v>532</c:v>
                </c:pt>
                <c:pt idx="6">
                  <c:v>294</c:v>
                </c:pt>
                <c:pt idx="7">
                  <c:v>586</c:v>
                </c:pt>
                <c:pt idx="8">
                  <c:v>736</c:v>
                </c:pt>
                <c:pt idx="9">
                  <c:v>752</c:v>
                </c:pt>
                <c:pt idx="10">
                  <c:v>640</c:v>
                </c:pt>
                <c:pt idx="11">
                  <c:v>854</c:v>
                </c:pt>
                <c:pt idx="12">
                  <c:v>384</c:v>
                </c:pt>
                <c:pt idx="13">
                  <c:v>220</c:v>
                </c:pt>
                <c:pt idx="14">
                  <c:v>663</c:v>
                </c:pt>
                <c:pt idx="15">
                  <c:v>766</c:v>
                </c:pt>
                <c:pt idx="16">
                  <c:v>672</c:v>
                </c:pt>
                <c:pt idx="17">
                  <c:v>601</c:v>
                </c:pt>
                <c:pt idx="18">
                  <c:v>526</c:v>
                </c:pt>
                <c:pt idx="19">
                  <c:v>352</c:v>
                </c:pt>
                <c:pt idx="20">
                  <c:v>193</c:v>
                </c:pt>
                <c:pt idx="21">
                  <c:v>462</c:v>
                </c:pt>
                <c:pt idx="22">
                  <c:v>618</c:v>
                </c:pt>
                <c:pt idx="23">
                  <c:v>486</c:v>
                </c:pt>
                <c:pt idx="24">
                  <c:v>482</c:v>
                </c:pt>
                <c:pt idx="25">
                  <c:v>439</c:v>
                </c:pt>
                <c:pt idx="26">
                  <c:v>267</c:v>
                </c:pt>
                <c:pt idx="27">
                  <c:v>132</c:v>
                </c:pt>
                <c:pt idx="28">
                  <c:v>427</c:v>
                </c:pt>
                <c:pt idx="29">
                  <c:v>466</c:v>
                </c:pt>
                <c:pt idx="30">
                  <c:v>428</c:v>
                </c:pt>
                <c:pt idx="31">
                  <c:v>360</c:v>
                </c:pt>
                <c:pt idx="32">
                  <c:v>216</c:v>
                </c:pt>
                <c:pt idx="33">
                  <c:v>151</c:v>
                </c:pt>
                <c:pt idx="34">
                  <c:v>150</c:v>
                </c:pt>
                <c:pt idx="35">
                  <c:v>129</c:v>
                </c:pt>
                <c:pt idx="36">
                  <c:v>303</c:v>
                </c:pt>
                <c:pt idx="37">
                  <c:v>307</c:v>
                </c:pt>
                <c:pt idx="38">
                  <c:v>278</c:v>
                </c:pt>
                <c:pt idx="39">
                  <c:v>274</c:v>
                </c:pt>
                <c:pt idx="40">
                  <c:v>131</c:v>
                </c:pt>
                <c:pt idx="41">
                  <c:v>81</c:v>
                </c:pt>
                <c:pt idx="42">
                  <c:v>215</c:v>
                </c:pt>
                <c:pt idx="43">
                  <c:v>245</c:v>
                </c:pt>
                <c:pt idx="44">
                  <c:v>233</c:v>
                </c:pt>
                <c:pt idx="45">
                  <c:v>195</c:v>
                </c:pt>
                <c:pt idx="46">
                  <c:v>193</c:v>
                </c:pt>
                <c:pt idx="47">
                  <c:v>89</c:v>
                </c:pt>
                <c:pt idx="48">
                  <c:v>64</c:v>
                </c:pt>
                <c:pt idx="49">
                  <c:v>170</c:v>
                </c:pt>
                <c:pt idx="50">
                  <c:v>169</c:v>
                </c:pt>
                <c:pt idx="51">
                  <c:v>145</c:v>
                </c:pt>
                <c:pt idx="52">
                  <c:v>148</c:v>
                </c:pt>
                <c:pt idx="53">
                  <c:v>100</c:v>
                </c:pt>
                <c:pt idx="54">
                  <c:v>53</c:v>
                </c:pt>
                <c:pt idx="55">
                  <c:v>48</c:v>
                </c:pt>
                <c:pt idx="56">
                  <c:v>137</c:v>
                </c:pt>
                <c:pt idx="57">
                  <c:v>144</c:v>
                </c:pt>
                <c:pt idx="58">
                  <c:v>108</c:v>
                </c:pt>
                <c:pt idx="59">
                  <c:v>91</c:v>
                </c:pt>
                <c:pt idx="60">
                  <c:v>100</c:v>
                </c:pt>
                <c:pt idx="61">
                  <c:v>65</c:v>
                </c:pt>
                <c:pt idx="62">
                  <c:v>38</c:v>
                </c:pt>
                <c:pt idx="63">
                  <c:v>88</c:v>
                </c:pt>
                <c:pt idx="64">
                  <c:v>92</c:v>
                </c:pt>
                <c:pt idx="65">
                  <c:v>84</c:v>
                </c:pt>
                <c:pt idx="66">
                  <c:v>79</c:v>
                </c:pt>
                <c:pt idx="67">
                  <c:v>59</c:v>
                </c:pt>
                <c:pt idx="68">
                  <c:v>32</c:v>
                </c:pt>
                <c:pt idx="69">
                  <c:v>22</c:v>
                </c:pt>
                <c:pt idx="70">
                  <c:v>84</c:v>
                </c:pt>
                <c:pt idx="71">
                  <c:v>58</c:v>
                </c:pt>
                <c:pt idx="72">
                  <c:v>38</c:v>
                </c:pt>
                <c:pt idx="73">
                  <c:v>50</c:v>
                </c:pt>
                <c:pt idx="74">
                  <c:v>45</c:v>
                </c:pt>
                <c:pt idx="75">
                  <c:v>25</c:v>
                </c:pt>
                <c:pt idx="76">
                  <c:v>11</c:v>
                </c:pt>
                <c:pt idx="77">
                  <c:v>46</c:v>
                </c:pt>
                <c:pt idx="78">
                  <c:v>53</c:v>
                </c:pt>
                <c:pt idx="79">
                  <c:v>45</c:v>
                </c:pt>
                <c:pt idx="80">
                  <c:v>43</c:v>
                </c:pt>
                <c:pt idx="81">
                  <c:v>30</c:v>
                </c:pt>
                <c:pt idx="82">
                  <c:v>16</c:v>
                </c:pt>
                <c:pt idx="83">
                  <c:v>9</c:v>
                </c:pt>
                <c:pt idx="84">
                  <c:v>28</c:v>
                </c:pt>
                <c:pt idx="85">
                  <c:v>34</c:v>
                </c:pt>
                <c:pt idx="86">
                  <c:v>29</c:v>
                </c:pt>
                <c:pt idx="87">
                  <c:v>21</c:v>
                </c:pt>
                <c:pt idx="88">
                  <c:v>17</c:v>
                </c:pt>
                <c:pt idx="89">
                  <c:v>8</c:v>
                </c:pt>
                <c:pt idx="90">
                  <c:v>7</c:v>
                </c:pt>
                <c:pt idx="91">
                  <c:v>25</c:v>
                </c:pt>
                <c:pt idx="92">
                  <c:v>13</c:v>
                </c:pt>
                <c:pt idx="93">
                  <c:v>11</c:v>
                </c:pt>
                <c:pt idx="94">
                  <c:v>17</c:v>
                </c:pt>
                <c:pt idx="95">
                  <c:v>13</c:v>
                </c:pt>
                <c:pt idx="96">
                  <c:v>5</c:v>
                </c:pt>
                <c:pt idx="97">
                  <c:v>2</c:v>
                </c:pt>
                <c:pt idx="98">
                  <c:v>12</c:v>
                </c:pt>
                <c:pt idx="99">
                  <c:v>12</c:v>
                </c:pt>
                <c:pt idx="100">
                  <c:v>7</c:v>
                </c:pt>
                <c:pt idx="101">
                  <c:v>11</c:v>
                </c:pt>
                <c:pt idx="10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0F-4B56-9C79-478BA9376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455437769925402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  <c:pt idx="274">
                  <c:v>44350</c:v>
                </c:pt>
                <c:pt idx="275">
                  <c:v>44351</c:v>
                </c:pt>
                <c:pt idx="276">
                  <c:v>44352</c:v>
                </c:pt>
                <c:pt idx="277">
                  <c:v>44353</c:v>
                </c:pt>
                <c:pt idx="278">
                  <c:v>44354</c:v>
                </c:pt>
                <c:pt idx="279">
                  <c:v>44355</c:v>
                </c:pt>
                <c:pt idx="280">
                  <c:v>44356</c:v>
                </c:pt>
                <c:pt idx="281">
                  <c:v>44357</c:v>
                </c:pt>
                <c:pt idx="282">
                  <c:v>44358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7.7733381765346901E-2</c:v>
                </c:pt>
                <c:pt idx="1">
                  <c:v>7.7178173047934881E-2</c:v>
                </c:pt>
                <c:pt idx="2">
                  <c:v>9.1127922971114161E-2</c:v>
                </c:pt>
                <c:pt idx="3">
                  <c:v>7.7572347266881031E-2</c:v>
                </c:pt>
                <c:pt idx="4">
                  <c:v>0.13089937666963491</c:v>
                </c:pt>
                <c:pt idx="5">
                  <c:v>6.775186977562693E-2</c:v>
                </c:pt>
                <c:pt idx="6">
                  <c:v>9.5685604442545924E-2</c:v>
                </c:pt>
                <c:pt idx="7">
                  <c:v>9.8643366291101403E-2</c:v>
                </c:pt>
                <c:pt idx="8">
                  <c:v>0.1145956607495069</c:v>
                </c:pt>
                <c:pt idx="9">
                  <c:v>8.6903676694013984E-2</c:v>
                </c:pt>
                <c:pt idx="10">
                  <c:v>0.15590370653419947</c:v>
                </c:pt>
                <c:pt idx="11">
                  <c:v>0.16857855361596011</c:v>
                </c:pt>
                <c:pt idx="12">
                  <c:v>7.4606741573033708E-2</c:v>
                </c:pt>
                <c:pt idx="13">
                  <c:v>8.8358394047434508E-2</c:v>
                </c:pt>
                <c:pt idx="14">
                  <c:v>0.12513542795232935</c:v>
                </c:pt>
                <c:pt idx="15">
                  <c:v>0.18121508379888268</c:v>
                </c:pt>
                <c:pt idx="16">
                  <c:v>0.14159764894469676</c:v>
                </c:pt>
                <c:pt idx="17">
                  <c:v>0.14793402482570991</c:v>
                </c:pt>
                <c:pt idx="18">
                  <c:v>0.11468160377358491</c:v>
                </c:pt>
                <c:pt idx="19">
                  <c:v>9.3735280263777671E-2</c:v>
                </c:pt>
                <c:pt idx="20">
                  <c:v>0.13882863340563992</c:v>
                </c:pt>
                <c:pt idx="21">
                  <c:v>0.13673768459023786</c:v>
                </c:pt>
                <c:pt idx="22">
                  <c:v>0.15425075139544869</c:v>
                </c:pt>
                <c:pt idx="23">
                  <c:v>0.17142556105784426</c:v>
                </c:pt>
                <c:pt idx="24">
                  <c:v>0.15977670488835244</c:v>
                </c:pt>
                <c:pt idx="25">
                  <c:v>0.15134502923976609</c:v>
                </c:pt>
                <c:pt idx="26">
                  <c:v>0.1441129461907299</c:v>
                </c:pt>
                <c:pt idx="27">
                  <c:v>0.14672910458351071</c:v>
                </c:pt>
                <c:pt idx="28">
                  <c:v>0.1777306468716861</c:v>
                </c:pt>
                <c:pt idx="29">
                  <c:v>0.20693698094772839</c:v>
                </c:pt>
                <c:pt idx="30">
                  <c:v>0.2112353109773574</c:v>
                </c:pt>
                <c:pt idx="31">
                  <c:v>0.21999151703661812</c:v>
                </c:pt>
                <c:pt idx="32">
                  <c:v>0.26138189608998391</c:v>
                </c:pt>
                <c:pt idx="33">
                  <c:v>0.24260596974240153</c:v>
                </c:pt>
                <c:pt idx="34">
                  <c:v>0.24212652648976218</c:v>
                </c:pt>
                <c:pt idx="35">
                  <c:v>0.27581208969221588</c:v>
                </c:pt>
                <c:pt idx="36">
                  <c:v>0.28458793260851523</c:v>
                </c:pt>
                <c:pt idx="37">
                  <c:v>0.39627384296909657</c:v>
                </c:pt>
                <c:pt idx="38">
                  <c:v>0.32748347957967716</c:v>
                </c:pt>
                <c:pt idx="39">
                  <c:v>0.34183103833271306</c:v>
                </c:pt>
                <c:pt idx="40">
                  <c:v>0.25892125892125895</c:v>
                </c:pt>
                <c:pt idx="41">
                  <c:v>0.32831091567511639</c:v>
                </c:pt>
                <c:pt idx="42">
                  <c:v>0.34791782343142696</c:v>
                </c:pt>
                <c:pt idx="43">
                  <c:v>0.3521239038833846</c:v>
                </c:pt>
                <c:pt idx="44">
                  <c:v>0.35699404761904763</c:v>
                </c:pt>
                <c:pt idx="45">
                  <c:v>0.36587478346943825</c:v>
                </c:pt>
                <c:pt idx="46">
                  <c:v>0.37093128390596747</c:v>
                </c:pt>
                <c:pt idx="47">
                  <c:v>0.34906177235995067</c:v>
                </c:pt>
                <c:pt idx="48">
                  <c:v>0.36413486812290402</c:v>
                </c:pt>
                <c:pt idx="49">
                  <c:v>0.4069430652101953</c:v>
                </c:pt>
                <c:pt idx="50">
                  <c:v>0.38837660761950982</c:v>
                </c:pt>
                <c:pt idx="51">
                  <c:v>0.40470361600513705</c:v>
                </c:pt>
                <c:pt idx="52">
                  <c:v>0.38507790212859339</c:v>
                </c:pt>
                <c:pt idx="53">
                  <c:v>0.41526306650460149</c:v>
                </c:pt>
                <c:pt idx="54">
                  <c:v>0.3629899033763978</c:v>
                </c:pt>
                <c:pt idx="55">
                  <c:v>0.38201714389932517</c:v>
                </c:pt>
                <c:pt idx="56">
                  <c:v>0.39477077682422518</c:v>
                </c:pt>
                <c:pt idx="57">
                  <c:v>0.37412059217057275</c:v>
                </c:pt>
                <c:pt idx="58">
                  <c:v>0.34484559152618233</c:v>
                </c:pt>
                <c:pt idx="59">
                  <c:v>0.38155126009297774</c:v>
                </c:pt>
                <c:pt idx="60">
                  <c:v>0.38641150077831699</c:v>
                </c:pt>
                <c:pt idx="61">
                  <c:v>0.3739665787159191</c:v>
                </c:pt>
                <c:pt idx="62">
                  <c:v>0.34599999999999997</c:v>
                </c:pt>
                <c:pt idx="63">
                  <c:v>0.41494906420279554</c:v>
                </c:pt>
                <c:pt idx="64">
                  <c:v>0.38164871582435789</c:v>
                </c:pt>
                <c:pt idx="65">
                  <c:v>0.34462970493877365</c:v>
                </c:pt>
                <c:pt idx="66">
                  <c:v>0.35785929718734655</c:v>
                </c:pt>
                <c:pt idx="67">
                  <c:v>0.3255504654943106</c:v>
                </c:pt>
                <c:pt idx="68">
                  <c:v>0.25537854030501089</c:v>
                </c:pt>
                <c:pt idx="69">
                  <c:v>0.30509596293845137</c:v>
                </c:pt>
                <c:pt idx="70">
                  <c:v>0.32964664511372016</c:v>
                </c:pt>
                <c:pt idx="71">
                  <c:v>0.32171752564184242</c:v>
                </c:pt>
                <c:pt idx="72">
                  <c:v>0.28582043343653252</c:v>
                </c:pt>
                <c:pt idx="73">
                  <c:v>0.32085496920661755</c:v>
                </c:pt>
                <c:pt idx="74">
                  <c:v>0.27688243064729195</c:v>
                </c:pt>
                <c:pt idx="75">
                  <c:v>0.2535416498016676</c:v>
                </c:pt>
                <c:pt idx="76">
                  <c:v>0.30540059347181009</c:v>
                </c:pt>
                <c:pt idx="77">
                  <c:v>0.27193053639535825</c:v>
                </c:pt>
                <c:pt idx="78">
                  <c:v>0.29917764354850446</c:v>
                </c:pt>
                <c:pt idx="79">
                  <c:v>0.27104082718771383</c:v>
                </c:pt>
                <c:pt idx="80">
                  <c:v>0.27515047291487532</c:v>
                </c:pt>
                <c:pt idx="81">
                  <c:v>0.26300258207303578</c:v>
                </c:pt>
                <c:pt idx="82">
                  <c:v>0.22691175158383153</c:v>
                </c:pt>
                <c:pt idx="83">
                  <c:v>0.29101283880171186</c:v>
                </c:pt>
                <c:pt idx="84">
                  <c:v>0.26794871794871794</c:v>
                </c:pt>
                <c:pt idx="85">
                  <c:v>0.26095875620816239</c:v>
                </c:pt>
                <c:pt idx="86">
                  <c:v>0.24148731938971404</c:v>
                </c:pt>
                <c:pt idx="87">
                  <c:v>0.2631679389312977</c:v>
                </c:pt>
                <c:pt idx="88">
                  <c:v>0.21320017368649588</c:v>
                </c:pt>
                <c:pt idx="89">
                  <c:v>0.19750109601052171</c:v>
                </c:pt>
                <c:pt idx="90">
                  <c:v>0.28644873411582111</c:v>
                </c:pt>
                <c:pt idx="91">
                  <c:v>0.24798349277809043</c:v>
                </c:pt>
                <c:pt idx="92">
                  <c:v>0.2759375</c:v>
                </c:pt>
                <c:pt idx="93">
                  <c:v>0.26637977407208174</c:v>
                </c:pt>
                <c:pt idx="94">
                  <c:v>0.30913435030325309</c:v>
                </c:pt>
                <c:pt idx="95">
                  <c:v>0.20015278838808251</c:v>
                </c:pt>
                <c:pt idx="96">
                  <c:v>0.21705055911306509</c:v>
                </c:pt>
                <c:pt idx="97">
                  <c:v>0.28037460633184152</c:v>
                </c:pt>
                <c:pt idx="98">
                  <c:v>0.31461318051575932</c:v>
                </c:pt>
                <c:pt idx="99">
                  <c:v>0.28178870114353988</c:v>
                </c:pt>
                <c:pt idx="100">
                  <c:v>0.2690465152217586</c:v>
                </c:pt>
                <c:pt idx="101">
                  <c:v>0.30836665641341127</c:v>
                </c:pt>
                <c:pt idx="102">
                  <c:v>0.30308422301304866</c:v>
                </c:pt>
                <c:pt idx="103">
                  <c:v>0.2358621889681573</c:v>
                </c:pt>
                <c:pt idx="104">
                  <c:v>0.30729237925844849</c:v>
                </c:pt>
                <c:pt idx="105">
                  <c:v>0.31301048298925976</c:v>
                </c:pt>
                <c:pt idx="106">
                  <c:v>0.29653808110781404</c:v>
                </c:pt>
                <c:pt idx="107">
                  <c:v>0.31908886750080206</c:v>
                </c:pt>
                <c:pt idx="108">
                  <c:v>0.28607675229939739</c:v>
                </c:pt>
                <c:pt idx="109">
                  <c:v>0.35940366972477067</c:v>
                </c:pt>
                <c:pt idx="110">
                  <c:v>0.27694871051869024</c:v>
                </c:pt>
                <c:pt idx="111">
                  <c:v>0.3276994777921276</c:v>
                </c:pt>
                <c:pt idx="112">
                  <c:v>0.38711786001609011</c:v>
                </c:pt>
                <c:pt idx="113">
                  <c:v>0.41828087167070216</c:v>
                </c:pt>
                <c:pt idx="114">
                  <c:v>0.35233955510099718</c:v>
                </c:pt>
                <c:pt idx="115">
                  <c:v>0.35822376581493426</c:v>
                </c:pt>
                <c:pt idx="116">
                  <c:v>0.34786306612800338</c:v>
                </c:pt>
                <c:pt idx="117">
                  <c:v>0.40051193254535872</c:v>
                </c:pt>
                <c:pt idx="118">
                  <c:v>0.50291391463617696</c:v>
                </c:pt>
                <c:pt idx="119">
                  <c:v>0.49308681672025723</c:v>
                </c:pt>
                <c:pt idx="120">
                  <c:v>0.50223988439306355</c:v>
                </c:pt>
                <c:pt idx="121">
                  <c:v>0.4838255977496484</c:v>
                </c:pt>
                <c:pt idx="122">
                  <c:v>0.36076861489191353</c:v>
                </c:pt>
                <c:pt idx="123">
                  <c:v>0.41206349206349208</c:v>
                </c:pt>
                <c:pt idx="124">
                  <c:v>0.35488950120901985</c:v>
                </c:pt>
                <c:pt idx="125">
                  <c:v>0.41027372591392042</c:v>
                </c:pt>
                <c:pt idx="126">
                  <c:v>0.47708595185149377</c:v>
                </c:pt>
                <c:pt idx="127">
                  <c:v>0.40242910864925296</c:v>
                </c:pt>
                <c:pt idx="128">
                  <c:v>0.35696897498316671</c:v>
                </c:pt>
                <c:pt idx="129">
                  <c:v>0.4423783783783784</c:v>
                </c:pt>
                <c:pt idx="130">
                  <c:v>0.35157375025714871</c:v>
                </c:pt>
                <c:pt idx="131">
                  <c:v>0.27468434343434345</c:v>
                </c:pt>
                <c:pt idx="132">
                  <c:v>0.30409495548961424</c:v>
                </c:pt>
                <c:pt idx="133">
                  <c:v>0.3417882054533925</c:v>
                </c:pt>
                <c:pt idx="134">
                  <c:v>0.2774019928722089</c:v>
                </c:pt>
                <c:pt idx="135">
                  <c:v>0.30803602597221252</c:v>
                </c:pt>
                <c:pt idx="136">
                  <c:v>0.31220008724734621</c:v>
                </c:pt>
                <c:pt idx="137">
                  <c:v>0.29946204423191869</c:v>
                </c:pt>
                <c:pt idx="138">
                  <c:v>0.26532072172323345</c:v>
                </c:pt>
                <c:pt idx="139">
                  <c:v>0.33036419797428346</c:v>
                </c:pt>
                <c:pt idx="140">
                  <c:v>0.30662983425414364</c:v>
                </c:pt>
                <c:pt idx="141">
                  <c:v>0.32308517293770667</c:v>
                </c:pt>
                <c:pt idx="142">
                  <c:v>0.28455876994826207</c:v>
                </c:pt>
                <c:pt idx="143">
                  <c:v>0.30253251197809722</c:v>
                </c:pt>
                <c:pt idx="144">
                  <c:v>0.27335075114304375</c:v>
                </c:pt>
                <c:pt idx="145">
                  <c:v>0.23751240489579886</c:v>
                </c:pt>
                <c:pt idx="146">
                  <c:v>0.31056994058534437</c:v>
                </c:pt>
                <c:pt idx="147">
                  <c:v>0.29743739505001093</c:v>
                </c:pt>
                <c:pt idx="148">
                  <c:v>0.30780595912336861</c:v>
                </c:pt>
                <c:pt idx="149">
                  <c:v>0.26909760589318599</c:v>
                </c:pt>
                <c:pt idx="150">
                  <c:v>0.28167045255984624</c:v>
                </c:pt>
                <c:pt idx="151">
                  <c:v>0.31619447359216507</c:v>
                </c:pt>
                <c:pt idx="152">
                  <c:v>0.25045856261464067</c:v>
                </c:pt>
                <c:pt idx="153">
                  <c:v>0.30346320346320349</c:v>
                </c:pt>
                <c:pt idx="154">
                  <c:v>0.3133281371784879</c:v>
                </c:pt>
                <c:pt idx="155">
                  <c:v>0.28733953416865249</c:v>
                </c:pt>
                <c:pt idx="156">
                  <c:v>0.28185585318928519</c:v>
                </c:pt>
                <c:pt idx="157">
                  <c:v>0.3089458496010864</c:v>
                </c:pt>
                <c:pt idx="158">
                  <c:v>0.26312130691692737</c:v>
                </c:pt>
                <c:pt idx="159">
                  <c:v>0.27168636072181002</c:v>
                </c:pt>
                <c:pt idx="160">
                  <c:v>0.33591600289645185</c:v>
                </c:pt>
                <c:pt idx="161">
                  <c:v>0.32350352112676056</c:v>
                </c:pt>
                <c:pt idx="162">
                  <c:v>0.31411033646559561</c:v>
                </c:pt>
                <c:pt idx="163">
                  <c:v>0.28862111263438922</c:v>
                </c:pt>
                <c:pt idx="164">
                  <c:v>0.29403914590747332</c:v>
                </c:pt>
                <c:pt idx="165">
                  <c:v>0.27809847198641768</c:v>
                </c:pt>
                <c:pt idx="166">
                  <c:v>0.27167395883973422</c:v>
                </c:pt>
                <c:pt idx="167">
                  <c:v>0.36501368642179643</c:v>
                </c:pt>
                <c:pt idx="168">
                  <c:v>0.335032872668724</c:v>
                </c:pt>
                <c:pt idx="169">
                  <c:v>0.33733721077253759</c:v>
                </c:pt>
                <c:pt idx="170">
                  <c:v>0.30389107341980165</c:v>
                </c:pt>
                <c:pt idx="171">
                  <c:v>0.34992458521870284</c:v>
                </c:pt>
                <c:pt idx="172">
                  <c:v>0.3717688062735986</c:v>
                </c:pt>
                <c:pt idx="173">
                  <c:v>0.30617317122321491</c:v>
                </c:pt>
                <c:pt idx="174">
                  <c:v>0.38253435775348987</c:v>
                </c:pt>
                <c:pt idx="175">
                  <c:v>0.36466826538768987</c:v>
                </c:pt>
                <c:pt idx="176">
                  <c:v>0.36106750392464676</c:v>
                </c:pt>
                <c:pt idx="177">
                  <c:v>0.34031654971059777</c:v>
                </c:pt>
                <c:pt idx="178">
                  <c:v>0.32987530126794506</c:v>
                </c:pt>
                <c:pt idx="179">
                  <c:v>0.32697171763623822</c:v>
                </c:pt>
                <c:pt idx="180">
                  <c:v>0.31538509201313586</c:v>
                </c:pt>
                <c:pt idx="181">
                  <c:v>0.36882370139362636</c:v>
                </c:pt>
                <c:pt idx="182">
                  <c:v>0.36453075100442978</c:v>
                </c:pt>
                <c:pt idx="183">
                  <c:v>0.3668081093823668</c:v>
                </c:pt>
                <c:pt idx="184">
                  <c:v>0.29993461093506363</c:v>
                </c:pt>
                <c:pt idx="185">
                  <c:v>0.41702857142857142</c:v>
                </c:pt>
                <c:pt idx="186">
                  <c:v>0.31155895297660413</c:v>
                </c:pt>
                <c:pt idx="187">
                  <c:v>0.29721051575356211</c:v>
                </c:pt>
                <c:pt idx="188">
                  <c:v>0.362368949364265</c:v>
                </c:pt>
                <c:pt idx="189">
                  <c:v>0.35486886237422333</c:v>
                </c:pt>
                <c:pt idx="190">
                  <c:v>0.31292347858519304</c:v>
                </c:pt>
                <c:pt idx="191">
                  <c:v>0.3771316745876433</c:v>
                </c:pt>
                <c:pt idx="192">
                  <c:v>0.33666839916839919</c:v>
                </c:pt>
                <c:pt idx="193">
                  <c:v>0.29392298435619735</c:v>
                </c:pt>
                <c:pt idx="194">
                  <c:v>0.28000000000000003</c:v>
                </c:pt>
                <c:pt idx="195">
                  <c:v>0.35503343788838254</c:v>
                </c:pt>
                <c:pt idx="196">
                  <c:v>0.34231041814316088</c:v>
                </c:pt>
                <c:pt idx="197">
                  <c:v>0.32539512264893083</c:v>
                </c:pt>
                <c:pt idx="198">
                  <c:v>0.282520757930594</c:v>
                </c:pt>
                <c:pt idx="199">
                  <c:v>0.2775582504428396</c:v>
                </c:pt>
                <c:pt idx="200">
                  <c:v>0.24600638977635783</c:v>
                </c:pt>
                <c:pt idx="201">
                  <c:v>0.22995964232017094</c:v>
                </c:pt>
                <c:pt idx="202">
                  <c:v>0.30565544295521413</c:v>
                </c:pt>
                <c:pt idx="203">
                  <c:v>0.30278457772337819</c:v>
                </c:pt>
                <c:pt idx="204">
                  <c:v>0.24775362875355195</c:v>
                </c:pt>
                <c:pt idx="205">
                  <c:v>0.25850174498823147</c:v>
                </c:pt>
                <c:pt idx="206">
                  <c:v>0.27547021943573669</c:v>
                </c:pt>
                <c:pt idx="207">
                  <c:v>0.11980376968758069</c:v>
                </c:pt>
                <c:pt idx="208">
                  <c:v>0.20937500000000001</c:v>
                </c:pt>
                <c:pt idx="209">
                  <c:v>0.26205083260297984</c:v>
                </c:pt>
                <c:pt idx="210">
                  <c:v>0.25115900772671818</c:v>
                </c:pt>
                <c:pt idx="211">
                  <c:v>0.23934276586033776</c:v>
                </c:pt>
                <c:pt idx="212">
                  <c:v>0.25680793507664562</c:v>
                </c:pt>
                <c:pt idx="213">
                  <c:v>0.2233910891089109</c:v>
                </c:pt>
                <c:pt idx="214">
                  <c:v>0.18802062673542244</c:v>
                </c:pt>
                <c:pt idx="215">
                  <c:v>9.8218829516539444E-2</c:v>
                </c:pt>
                <c:pt idx="216">
                  <c:v>0.18042422693585483</c:v>
                </c:pt>
                <c:pt idx="217">
                  <c:v>0.25031162355874104</c:v>
                </c:pt>
                <c:pt idx="218">
                  <c:v>0.24020190023752969</c:v>
                </c:pt>
                <c:pt idx="219">
                  <c:v>0.20358306188925082</c:v>
                </c:pt>
                <c:pt idx="220">
                  <c:v>0.17405719021964361</c:v>
                </c:pt>
                <c:pt idx="221">
                  <c:v>0.12866015971606035</c:v>
                </c:pt>
                <c:pt idx="222">
                  <c:v>0.12262066621346022</c:v>
                </c:pt>
                <c:pt idx="223">
                  <c:v>0.18631112655259272</c:v>
                </c:pt>
                <c:pt idx="224">
                  <c:v>0.15012083131947801</c:v>
                </c:pt>
                <c:pt idx="225">
                  <c:v>0.16328671328671329</c:v>
                </c:pt>
                <c:pt idx="226">
                  <c:v>0.14822021288771889</c:v>
                </c:pt>
                <c:pt idx="227">
                  <c:v>0.13376455368693402</c:v>
                </c:pt>
                <c:pt idx="228">
                  <c:v>0.10707547169811321</c:v>
                </c:pt>
                <c:pt idx="229">
                  <c:v>0.11827956989247312</c:v>
                </c:pt>
                <c:pt idx="230">
                  <c:v>0.15304264494489697</c:v>
                </c:pt>
                <c:pt idx="231">
                  <c:v>0.13616219809439398</c:v>
                </c:pt>
                <c:pt idx="232">
                  <c:v>0.13741701114869098</c:v>
                </c:pt>
                <c:pt idx="233">
                  <c:v>0.12409208420534286</c:v>
                </c:pt>
                <c:pt idx="234">
                  <c:v>0.11515689757252812</c:v>
                </c:pt>
                <c:pt idx="235">
                  <c:v>0.12792792792792793</c:v>
                </c:pt>
                <c:pt idx="236">
                  <c:v>9.8407552207494989E-2</c:v>
                </c:pt>
                <c:pt idx="237">
                  <c:v>0.14676781002638523</c:v>
                </c:pt>
                <c:pt idx="238">
                  <c:v>0.11025244719216898</c:v>
                </c:pt>
                <c:pt idx="239">
                  <c:v>0.10924268086135978</c:v>
                </c:pt>
                <c:pt idx="240">
                  <c:v>9.3162868260144527E-2</c:v>
                </c:pt>
                <c:pt idx="241">
                  <c:v>0.11652035115722266</c:v>
                </c:pt>
                <c:pt idx="242">
                  <c:v>8.3608360836083612E-2</c:v>
                </c:pt>
                <c:pt idx="243">
                  <c:v>7.0978659396446361E-2</c:v>
                </c:pt>
                <c:pt idx="244">
                  <c:v>0.10922704250165162</c:v>
                </c:pt>
                <c:pt idx="245">
                  <c:v>8.3890715338397009E-2</c:v>
                </c:pt>
                <c:pt idx="246">
                  <c:v>8.04333970681963E-2</c:v>
                </c:pt>
                <c:pt idx="247">
                  <c:v>7.58082497212932E-2</c:v>
                </c:pt>
                <c:pt idx="248">
                  <c:v>6.3345017526289432E-2</c:v>
                </c:pt>
                <c:pt idx="249">
                  <c:v>6.1702127659574467E-2</c:v>
                </c:pt>
                <c:pt idx="250">
                  <c:v>5.0034387895460795E-2</c:v>
                </c:pt>
                <c:pt idx="251">
                  <c:v>8.8478366553232865E-2</c:v>
                </c:pt>
                <c:pt idx="252">
                  <c:v>5.9285533316442866E-2</c:v>
                </c:pt>
                <c:pt idx="253">
                  <c:v>6.574640671694891E-2</c:v>
                </c:pt>
                <c:pt idx="254">
                  <c:v>5.2877334679454824E-2</c:v>
                </c:pt>
                <c:pt idx="255">
                  <c:v>5.1348999129677983E-2</c:v>
                </c:pt>
                <c:pt idx="256">
                  <c:v>3.3369803063457333E-2</c:v>
                </c:pt>
                <c:pt idx="257">
                  <c:v>2.8436363636363638E-2</c:v>
                </c:pt>
                <c:pt idx="258">
                  <c:v>4.9681914571342016E-2</c:v>
                </c:pt>
                <c:pt idx="259">
                  <c:v>2.9871670441065458E-2</c:v>
                </c:pt>
                <c:pt idx="260">
                  <c:v>3.6872945548092041E-2</c:v>
                </c:pt>
                <c:pt idx="261">
                  <c:v>2.506132025167964E-2</c:v>
                </c:pt>
                <c:pt idx="262">
                  <c:v>2.7786259541984732E-2</c:v>
                </c:pt>
                <c:pt idx="263">
                  <c:v>2.9411764705882353E-2</c:v>
                </c:pt>
                <c:pt idx="264">
                  <c:v>1.7562862669245647E-2</c:v>
                </c:pt>
                <c:pt idx="265">
                  <c:v>2.0835134434166163E-2</c:v>
                </c:pt>
                <c:pt idx="266">
                  <c:v>3.0315064866296003E-2</c:v>
                </c:pt>
                <c:pt idx="267">
                  <c:v>2.2573917310759417E-2</c:v>
                </c:pt>
                <c:pt idx="268">
                  <c:v>1.8396427052318164E-2</c:v>
                </c:pt>
                <c:pt idx="269">
                  <c:v>2.3809523809523808E-2</c:v>
                </c:pt>
                <c:pt idx="270">
                  <c:v>1.1308562197092083E-2</c:v>
                </c:pt>
                <c:pt idx="271">
                  <c:v>1.5605493133583021E-2</c:v>
                </c:pt>
                <c:pt idx="272">
                  <c:v>1.9687319050376375E-2</c:v>
                </c:pt>
                <c:pt idx="273">
                  <c:v>1.3894249324585103E-2</c:v>
                </c:pt>
                <c:pt idx="274">
                  <c:v>1.8060366155368629E-2</c:v>
                </c:pt>
                <c:pt idx="275">
                  <c:v>1.0948484499250894E-2</c:v>
                </c:pt>
                <c:pt idx="276">
                  <c:v>1.3964577656675749E-2</c:v>
                </c:pt>
                <c:pt idx="277">
                  <c:v>9.0361445783132526E-3</c:v>
                </c:pt>
                <c:pt idx="278">
                  <c:v>7.352239090995894E-3</c:v>
                </c:pt>
                <c:pt idx="279">
                  <c:v>1.4078587938642572E-2</c:v>
                </c:pt>
                <c:pt idx="280">
                  <c:v>9.138381201044387E-3</c:v>
                </c:pt>
                <c:pt idx="281">
                  <c:v>9.3048713738368913E-3</c:v>
                </c:pt>
                <c:pt idx="282">
                  <c:v>8.6411385970857329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215475024485798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  <c:pt idx="274">
                  <c:v>44350</c:v>
                </c:pt>
                <c:pt idx="275">
                  <c:v>44351</c:v>
                </c:pt>
                <c:pt idx="276">
                  <c:v>44352</c:v>
                </c:pt>
                <c:pt idx="277">
                  <c:v>44353</c:v>
                </c:pt>
                <c:pt idx="278">
                  <c:v>44354</c:v>
                </c:pt>
                <c:pt idx="279">
                  <c:v>44355</c:v>
                </c:pt>
                <c:pt idx="280">
                  <c:v>44356</c:v>
                </c:pt>
                <c:pt idx="281">
                  <c:v>44357</c:v>
                </c:pt>
                <c:pt idx="282">
                  <c:v>44358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3.5977859778597784E-2</c:v>
                </c:pt>
                <c:pt idx="1">
                  <c:v>3.6744186046511626E-2</c:v>
                </c:pt>
                <c:pt idx="2">
                  <c:v>3.4534534534534533E-2</c:v>
                </c:pt>
                <c:pt idx="3">
                  <c:v>4.5914922349763673E-2</c:v>
                </c:pt>
                <c:pt idx="4">
                  <c:v>5.749718151071026E-2</c:v>
                </c:pt>
                <c:pt idx="5">
                  <c:v>3.1896551724137932E-2</c:v>
                </c:pt>
                <c:pt idx="6">
                  <c:v>4.4626593806921674E-2</c:v>
                </c:pt>
                <c:pt idx="7">
                  <c:v>5.4971462901772301E-2</c:v>
                </c:pt>
                <c:pt idx="8">
                  <c:v>6.3717746182201163E-2</c:v>
                </c:pt>
                <c:pt idx="9">
                  <c:v>5.5020632737276476E-2</c:v>
                </c:pt>
                <c:pt idx="10">
                  <c:v>8.7026332691072572E-2</c:v>
                </c:pt>
                <c:pt idx="11">
                  <c:v>8.0438756855575874E-2</c:v>
                </c:pt>
                <c:pt idx="12">
                  <c:v>4.1656273384884014E-2</c:v>
                </c:pt>
                <c:pt idx="13">
                  <c:v>6.3355814428775803E-2</c:v>
                </c:pt>
                <c:pt idx="14">
                  <c:v>8.5063085063085062E-2</c:v>
                </c:pt>
                <c:pt idx="15">
                  <c:v>0.10748155953635406</c:v>
                </c:pt>
                <c:pt idx="16">
                  <c:v>7.6333089846603364E-2</c:v>
                </c:pt>
                <c:pt idx="17">
                  <c:v>9.1051805337519623E-2</c:v>
                </c:pt>
                <c:pt idx="18">
                  <c:v>7.0342205323193921E-2</c:v>
                </c:pt>
                <c:pt idx="19">
                  <c:v>6.7996567996568003E-2</c:v>
                </c:pt>
                <c:pt idx="20">
                  <c:v>8.3089846603360121E-2</c:v>
                </c:pt>
                <c:pt idx="21">
                  <c:v>8.4475668265935569E-2</c:v>
                </c:pt>
                <c:pt idx="22">
                  <c:v>0.10739936529146484</c:v>
                </c:pt>
                <c:pt idx="23">
                  <c:v>0.10956175298804781</c:v>
                </c:pt>
                <c:pt idx="24">
                  <c:v>0.11584619152583885</c:v>
                </c:pt>
                <c:pt idx="25">
                  <c:v>0.10934105720492397</c:v>
                </c:pt>
                <c:pt idx="26">
                  <c:v>8.4018022793533001E-2</c:v>
                </c:pt>
                <c:pt idx="27">
                  <c:v>0.10062630480167015</c:v>
                </c:pt>
                <c:pt idx="28">
                  <c:v>0.1215828713439113</c:v>
                </c:pt>
                <c:pt idx="29">
                  <c:v>0.13130979874628834</c:v>
                </c:pt>
                <c:pt idx="30">
                  <c:v>0.15249957919542165</c:v>
                </c:pt>
                <c:pt idx="31">
                  <c:v>0.15265726681127983</c:v>
                </c:pt>
                <c:pt idx="32">
                  <c:v>0.20080784766301213</c:v>
                </c:pt>
                <c:pt idx="33">
                  <c:v>0.1730631704410012</c:v>
                </c:pt>
                <c:pt idx="34">
                  <c:v>0.16217175301632364</c:v>
                </c:pt>
                <c:pt idx="35">
                  <c:v>0.19247442344373158</c:v>
                </c:pt>
                <c:pt idx="36">
                  <c:v>0.18886679920477137</c:v>
                </c:pt>
                <c:pt idx="37">
                  <c:v>0.26298562686779564</c:v>
                </c:pt>
                <c:pt idx="38">
                  <c:v>0.22730521801286632</c:v>
                </c:pt>
                <c:pt idx="39">
                  <c:v>0.22156930521949533</c:v>
                </c:pt>
                <c:pt idx="40">
                  <c:v>0.17884883489344752</c:v>
                </c:pt>
                <c:pt idx="41">
                  <c:v>0.21114239146540228</c:v>
                </c:pt>
                <c:pt idx="42">
                  <c:v>0.22216414009409305</c:v>
                </c:pt>
                <c:pt idx="43">
                  <c:v>0.20919747520288548</c:v>
                </c:pt>
                <c:pt idx="44">
                  <c:v>0.23332932836717529</c:v>
                </c:pt>
                <c:pt idx="45">
                  <c:v>0.22971360381861575</c:v>
                </c:pt>
                <c:pt idx="46">
                  <c:v>0.23619768477292966</c:v>
                </c:pt>
                <c:pt idx="47">
                  <c:v>0.22325382088273105</c:v>
                </c:pt>
                <c:pt idx="48">
                  <c:v>0.23062342038753159</c:v>
                </c:pt>
                <c:pt idx="49">
                  <c:v>0.26349673503172999</c:v>
                </c:pt>
                <c:pt idx="50">
                  <c:v>0.25143553158169479</c:v>
                </c:pt>
                <c:pt idx="51">
                  <c:v>0.26888908435218578</c:v>
                </c:pt>
                <c:pt idx="52">
                  <c:v>0.25180854226538502</c:v>
                </c:pt>
                <c:pt idx="53">
                  <c:v>0.27585604472396924</c:v>
                </c:pt>
                <c:pt idx="54">
                  <c:v>0.25103220478943022</c:v>
                </c:pt>
                <c:pt idx="55">
                  <c:v>0.26661920441398951</c:v>
                </c:pt>
                <c:pt idx="56">
                  <c:v>0.24531516183986371</c:v>
                </c:pt>
                <c:pt idx="57">
                  <c:v>0.23314731154220922</c:v>
                </c:pt>
                <c:pt idx="58">
                  <c:v>0.23384062927496579</c:v>
                </c:pt>
                <c:pt idx="59">
                  <c:v>0.24891146589259797</c:v>
                </c:pt>
                <c:pt idx="60">
                  <c:v>0.27490308444294626</c:v>
                </c:pt>
                <c:pt idx="61">
                  <c:v>0.2207808564231738</c:v>
                </c:pt>
                <c:pt idx="62">
                  <c:v>0.2214305802943658</c:v>
                </c:pt>
                <c:pt idx="63">
                  <c:v>0.26805806063729282</c:v>
                </c:pt>
                <c:pt idx="64">
                  <c:v>0.23881270299530855</c:v>
                </c:pt>
                <c:pt idx="65">
                  <c:v>0.2465254480973833</c:v>
                </c:pt>
                <c:pt idx="66">
                  <c:v>0.26051670499120788</c:v>
                </c:pt>
                <c:pt idx="67">
                  <c:v>0.23101628813948152</c:v>
                </c:pt>
                <c:pt idx="68">
                  <c:v>0.18479880774962743</c:v>
                </c:pt>
                <c:pt idx="69">
                  <c:v>0.20003740764986438</c:v>
                </c:pt>
                <c:pt idx="70">
                  <c:v>0.20455203008969042</c:v>
                </c:pt>
                <c:pt idx="71">
                  <c:v>0.20760074260128863</c:v>
                </c:pt>
                <c:pt idx="72">
                  <c:v>0.2055586436909394</c:v>
                </c:pt>
                <c:pt idx="73">
                  <c:v>0.23601025202904741</c:v>
                </c:pt>
                <c:pt idx="74">
                  <c:v>0.21541353383458647</c:v>
                </c:pt>
                <c:pt idx="75">
                  <c:v>0.15740142210730446</c:v>
                </c:pt>
                <c:pt idx="76">
                  <c:v>0.2209147845891061</c:v>
                </c:pt>
                <c:pt idx="77">
                  <c:v>0.17817485641352904</c:v>
                </c:pt>
                <c:pt idx="78">
                  <c:v>0.20859302479777217</c:v>
                </c:pt>
                <c:pt idx="79">
                  <c:v>0.2112580073599564</c:v>
                </c:pt>
                <c:pt idx="80">
                  <c:v>0.20129435393885292</c:v>
                </c:pt>
                <c:pt idx="81">
                  <c:v>0.21202775636083268</c:v>
                </c:pt>
                <c:pt idx="82">
                  <c:v>0.13016204913748039</c:v>
                </c:pt>
                <c:pt idx="83">
                  <c:v>0.19546129947318655</c:v>
                </c:pt>
                <c:pt idx="84">
                  <c:v>0.18082268707005475</c:v>
                </c:pt>
                <c:pt idx="85">
                  <c:v>0.16379310344827586</c:v>
                </c:pt>
                <c:pt idx="86">
                  <c:v>0.17474839890210431</c:v>
                </c:pt>
                <c:pt idx="87">
                  <c:v>0.22021151586368978</c:v>
                </c:pt>
                <c:pt idx="88">
                  <c:v>0.19550669216061187</c:v>
                </c:pt>
                <c:pt idx="89">
                  <c:v>0.1108266970041714</c:v>
                </c:pt>
                <c:pt idx="90">
                  <c:v>0.18895558223289316</c:v>
                </c:pt>
                <c:pt idx="91">
                  <c:v>0.17490967983057182</c:v>
                </c:pt>
                <c:pt idx="92">
                  <c:v>0.19561643835616438</c:v>
                </c:pt>
                <c:pt idx="93">
                  <c:v>0.19769514078650349</c:v>
                </c:pt>
                <c:pt idx="94">
                  <c:v>0.26802374893977948</c:v>
                </c:pt>
                <c:pt idx="95">
                  <c:v>0.16229712858926343</c:v>
                </c:pt>
                <c:pt idx="96">
                  <c:v>0.12777065396592782</c:v>
                </c:pt>
                <c:pt idx="97">
                  <c:v>0.18709677419354839</c:v>
                </c:pt>
                <c:pt idx="98">
                  <c:v>0.19634517766497461</c:v>
                </c:pt>
                <c:pt idx="99">
                  <c:v>0.20233621127475876</c:v>
                </c:pt>
                <c:pt idx="100">
                  <c:v>0.18563407895909456</c:v>
                </c:pt>
                <c:pt idx="101">
                  <c:v>0.20801404853128991</c:v>
                </c:pt>
                <c:pt idx="102">
                  <c:v>0.21614100185528756</c:v>
                </c:pt>
                <c:pt idx="103">
                  <c:v>0.13663133097762073</c:v>
                </c:pt>
                <c:pt idx="104">
                  <c:v>0.19533043134151168</c:v>
                </c:pt>
                <c:pt idx="105">
                  <c:v>0.18179102248114123</c:v>
                </c:pt>
                <c:pt idx="106">
                  <c:v>0.17258883248730963</c:v>
                </c:pt>
                <c:pt idx="107">
                  <c:v>0.17687257135200321</c:v>
                </c:pt>
                <c:pt idx="108">
                  <c:v>0.17523186033824331</c:v>
                </c:pt>
                <c:pt idx="109">
                  <c:v>0.18503794723527286</c:v>
                </c:pt>
                <c:pt idx="110">
                  <c:v>0.14212021097780098</c:v>
                </c:pt>
                <c:pt idx="111">
                  <c:v>0.16703377386196769</c:v>
                </c:pt>
                <c:pt idx="112">
                  <c:v>0.18026514814485275</c:v>
                </c:pt>
                <c:pt idx="113">
                  <c:v>0.23335274703940984</c:v>
                </c:pt>
                <c:pt idx="114">
                  <c:v>0.21523579201934703</c:v>
                </c:pt>
                <c:pt idx="115">
                  <c:v>0.1853035143769968</c:v>
                </c:pt>
                <c:pt idx="116">
                  <c:v>0.19236719958741619</c:v>
                </c:pt>
                <c:pt idx="117">
                  <c:v>0.19861314691622506</c:v>
                </c:pt>
                <c:pt idx="118">
                  <c:v>0.26659297857781988</c:v>
                </c:pt>
                <c:pt idx="119">
                  <c:v>0.267038242922576</c:v>
                </c:pt>
                <c:pt idx="120">
                  <c:v>0.2983417447728911</c:v>
                </c:pt>
                <c:pt idx="121">
                  <c:v>0.35259928963513076</c:v>
                </c:pt>
                <c:pt idx="122">
                  <c:v>0.20330459770114942</c:v>
                </c:pt>
                <c:pt idx="123">
                  <c:v>0.25674613570867172</c:v>
                </c:pt>
                <c:pt idx="124">
                  <c:v>0.19441460794844254</c:v>
                </c:pt>
                <c:pt idx="125">
                  <c:v>0.24593774471417384</c:v>
                </c:pt>
                <c:pt idx="126">
                  <c:v>0.28577942433741804</c:v>
                </c:pt>
                <c:pt idx="127">
                  <c:v>0.25873576756968986</c:v>
                </c:pt>
                <c:pt idx="128">
                  <c:v>0.22372628437433384</c:v>
                </c:pt>
                <c:pt idx="129">
                  <c:v>0.28056456227350751</c:v>
                </c:pt>
                <c:pt idx="130">
                  <c:v>0.23401966810079902</c:v>
                </c:pt>
                <c:pt idx="131">
                  <c:v>0.15390131956397016</c:v>
                </c:pt>
                <c:pt idx="132">
                  <c:v>0.2040130320111703</c:v>
                </c:pt>
                <c:pt idx="133">
                  <c:v>0.22560939446058953</c:v>
                </c:pt>
                <c:pt idx="134">
                  <c:v>0.1770254231994503</c:v>
                </c:pt>
                <c:pt idx="135">
                  <c:v>0.20711173907924174</c:v>
                </c:pt>
                <c:pt idx="136">
                  <c:v>0.23944913371834739</c:v>
                </c:pt>
                <c:pt idx="137">
                  <c:v>0.22201257861635221</c:v>
                </c:pt>
                <c:pt idx="138">
                  <c:v>0.15913279132791328</c:v>
                </c:pt>
                <c:pt idx="139">
                  <c:v>0.2201467233832686</c:v>
                </c:pt>
                <c:pt idx="140">
                  <c:v>0.20249056103861696</c:v>
                </c:pt>
                <c:pt idx="141">
                  <c:v>0.19515115234959593</c:v>
                </c:pt>
                <c:pt idx="142">
                  <c:v>0.19123530124863619</c:v>
                </c:pt>
                <c:pt idx="143">
                  <c:v>0.22277898158179849</c:v>
                </c:pt>
                <c:pt idx="144">
                  <c:v>0.20499999999999999</c:v>
                </c:pt>
                <c:pt idx="145">
                  <c:v>0.14736197002618531</c:v>
                </c:pt>
                <c:pt idx="146">
                  <c:v>0.22080029964417255</c:v>
                </c:pt>
                <c:pt idx="147">
                  <c:v>0.18339245986410918</c:v>
                </c:pt>
                <c:pt idx="148">
                  <c:v>0.21845893310753597</c:v>
                </c:pt>
                <c:pt idx="149">
                  <c:v>0.18988008189529101</c:v>
                </c:pt>
                <c:pt idx="150">
                  <c:v>0.20325403673117221</c:v>
                </c:pt>
                <c:pt idx="151">
                  <c:v>0.20109135004042036</c:v>
                </c:pt>
                <c:pt idx="152">
                  <c:v>0.14854654213453669</c:v>
                </c:pt>
                <c:pt idx="153">
                  <c:v>0.1986108616250524</c:v>
                </c:pt>
                <c:pt idx="154">
                  <c:v>0.21567138015659693</c:v>
                </c:pt>
                <c:pt idx="155">
                  <c:v>0.1920725822019175</c:v>
                </c:pt>
                <c:pt idx="156">
                  <c:v>0.18759489399988755</c:v>
                </c:pt>
                <c:pt idx="157">
                  <c:v>0.23563811489508085</c:v>
                </c:pt>
                <c:pt idx="158">
                  <c:v>0.17675635276532137</c:v>
                </c:pt>
                <c:pt idx="159">
                  <c:v>0.16405794025574361</c:v>
                </c:pt>
                <c:pt idx="160">
                  <c:v>0.21513642269380684</c:v>
                </c:pt>
                <c:pt idx="161">
                  <c:v>0.20414321360181048</c:v>
                </c:pt>
                <c:pt idx="162">
                  <c:v>0.20421171030431795</c:v>
                </c:pt>
                <c:pt idx="163">
                  <c:v>0.1886709035645206</c:v>
                </c:pt>
                <c:pt idx="164">
                  <c:v>0.21637996321540626</c:v>
                </c:pt>
                <c:pt idx="165">
                  <c:v>0.19836065573770492</c:v>
                </c:pt>
                <c:pt idx="166">
                  <c:v>0.1725268459564763</c:v>
                </c:pt>
                <c:pt idx="167">
                  <c:v>0.23268161969035331</c:v>
                </c:pt>
                <c:pt idx="168">
                  <c:v>0.20122421686127256</c:v>
                </c:pt>
                <c:pt idx="169">
                  <c:v>0.21527813120260572</c:v>
                </c:pt>
                <c:pt idx="170">
                  <c:v>0.19080168394368746</c:v>
                </c:pt>
                <c:pt idx="171">
                  <c:v>0.24562826753199929</c:v>
                </c:pt>
                <c:pt idx="172">
                  <c:v>0.22502955082742318</c:v>
                </c:pt>
                <c:pt idx="173">
                  <c:v>0.17894529712711532</c:v>
                </c:pt>
                <c:pt idx="174">
                  <c:v>0.23977680026067122</c:v>
                </c:pt>
                <c:pt idx="175">
                  <c:v>0.20210232405354356</c:v>
                </c:pt>
                <c:pt idx="176">
                  <c:v>0.22168134100914325</c:v>
                </c:pt>
                <c:pt idx="177">
                  <c:v>0.20397579948141745</c:v>
                </c:pt>
                <c:pt idx="178">
                  <c:v>0.21803885990776442</c:v>
                </c:pt>
                <c:pt idx="179">
                  <c:v>0.2122071516646116</c:v>
                </c:pt>
                <c:pt idx="180">
                  <c:v>0.17152330079204273</c:v>
                </c:pt>
                <c:pt idx="181">
                  <c:v>0.22134286443706919</c:v>
                </c:pt>
                <c:pt idx="182">
                  <c:v>0.20936928524181939</c:v>
                </c:pt>
                <c:pt idx="183">
                  <c:v>0.19120325518310405</c:v>
                </c:pt>
                <c:pt idx="184">
                  <c:v>0.16756352232636043</c:v>
                </c:pt>
                <c:pt idx="185">
                  <c:v>0.26218617226728469</c:v>
                </c:pt>
                <c:pt idx="186">
                  <c:v>0.16846105129829006</c:v>
                </c:pt>
                <c:pt idx="187">
                  <c:v>0.12605661943257615</c:v>
                </c:pt>
                <c:pt idx="188">
                  <c:v>0.1747131931166348</c:v>
                </c:pt>
                <c:pt idx="189">
                  <c:v>0.16100815418828762</c:v>
                </c:pt>
                <c:pt idx="190">
                  <c:v>0.1227483352257035</c:v>
                </c:pt>
                <c:pt idx="191">
                  <c:v>0.16505776230416205</c:v>
                </c:pt>
                <c:pt idx="192">
                  <c:v>0.21906933536018916</c:v>
                </c:pt>
                <c:pt idx="193">
                  <c:v>0.15453175997991464</c:v>
                </c:pt>
                <c:pt idx="194">
                  <c:v>0.11796714036663321</c:v>
                </c:pt>
                <c:pt idx="195">
                  <c:v>0.15427850424409267</c:v>
                </c:pt>
                <c:pt idx="196">
                  <c:v>0.13678300455235204</c:v>
                </c:pt>
                <c:pt idx="197">
                  <c:v>0.12988186689045253</c:v>
                </c:pt>
                <c:pt idx="198">
                  <c:v>0.13200697066511763</c:v>
                </c:pt>
                <c:pt idx="199">
                  <c:v>0.2047063149186506</c:v>
                </c:pt>
                <c:pt idx="200">
                  <c:v>0.1247651258925216</c:v>
                </c:pt>
                <c:pt idx="201">
                  <c:v>9.4906011587971587E-2</c:v>
                </c:pt>
                <c:pt idx="202">
                  <c:v>0.12912072216191511</c:v>
                </c:pt>
                <c:pt idx="203">
                  <c:v>0.1064895114049154</c:v>
                </c:pt>
                <c:pt idx="204">
                  <c:v>0.10051374432879637</c:v>
                </c:pt>
                <c:pt idx="205">
                  <c:v>0.11809560673504935</c:v>
                </c:pt>
                <c:pt idx="206">
                  <c:v>0.18376722817764166</c:v>
                </c:pt>
                <c:pt idx="207">
                  <c:v>0.12476627570967194</c:v>
                </c:pt>
                <c:pt idx="208">
                  <c:v>8.1148197596795729E-2</c:v>
                </c:pt>
                <c:pt idx="209">
                  <c:v>0.10668150071079795</c:v>
                </c:pt>
                <c:pt idx="210">
                  <c:v>9.1058352214888519E-2</c:v>
                </c:pt>
                <c:pt idx="211">
                  <c:v>7.3664935610722543E-2</c:v>
                </c:pt>
                <c:pt idx="212">
                  <c:v>0.14606629392971246</c:v>
                </c:pt>
                <c:pt idx="213">
                  <c:v>0.15553465036061462</c:v>
                </c:pt>
                <c:pt idx="214">
                  <c:v>0.14270958856946117</c:v>
                </c:pt>
                <c:pt idx="215">
                  <c:v>8.9101726890146574E-2</c:v>
                </c:pt>
                <c:pt idx="216">
                  <c:v>5.2043978435284625E-2</c:v>
                </c:pt>
                <c:pt idx="217">
                  <c:v>7.7128910844507181E-2</c:v>
                </c:pt>
                <c:pt idx="218">
                  <c:v>6.6376926116159626E-2</c:v>
                </c:pt>
                <c:pt idx="219">
                  <c:v>8.1137466551771051E-2</c:v>
                </c:pt>
                <c:pt idx="220">
                  <c:v>0.12221433640880057</c:v>
                </c:pt>
                <c:pt idx="221">
                  <c:v>6.5553301076947096E-2</c:v>
                </c:pt>
                <c:pt idx="222">
                  <c:v>4.8124362614040406E-2</c:v>
                </c:pt>
                <c:pt idx="223">
                  <c:v>6.426308179776663E-2</c:v>
                </c:pt>
                <c:pt idx="224">
                  <c:v>5.2764347277696029E-2</c:v>
                </c:pt>
                <c:pt idx="225">
                  <c:v>4.6626175838826757E-2</c:v>
                </c:pt>
                <c:pt idx="226">
                  <c:v>6.8067519792859632E-2</c:v>
                </c:pt>
                <c:pt idx="227">
                  <c:v>9.8666262503789029E-2</c:v>
                </c:pt>
                <c:pt idx="228">
                  <c:v>5.5322230267921796E-2</c:v>
                </c:pt>
                <c:pt idx="229">
                  <c:v>4.1053664004483674E-2</c:v>
                </c:pt>
                <c:pt idx="230">
                  <c:v>4.7225195420193961E-2</c:v>
                </c:pt>
                <c:pt idx="231">
                  <c:v>4.2899301806665228E-2</c:v>
                </c:pt>
                <c:pt idx="232">
                  <c:v>3.7517102325916325E-2</c:v>
                </c:pt>
                <c:pt idx="233">
                  <c:v>5.5231274832000785E-2</c:v>
                </c:pt>
                <c:pt idx="234">
                  <c:v>8.5121705314705462E-2</c:v>
                </c:pt>
                <c:pt idx="235">
                  <c:v>6.2962962962962957E-2</c:v>
                </c:pt>
                <c:pt idx="236">
                  <c:v>3.1336328375701092E-2</c:v>
                </c:pt>
                <c:pt idx="237">
                  <c:v>4.092738689421993E-2</c:v>
                </c:pt>
                <c:pt idx="238">
                  <c:v>3.5867390683052301E-2</c:v>
                </c:pt>
                <c:pt idx="239">
                  <c:v>3.1566884289484648E-2</c:v>
                </c:pt>
                <c:pt idx="240">
                  <c:v>4.5407246239712422E-2</c:v>
                </c:pt>
                <c:pt idx="241">
                  <c:v>9.594663930220626E-2</c:v>
                </c:pt>
                <c:pt idx="242">
                  <c:v>3.1996915959907481E-2</c:v>
                </c:pt>
                <c:pt idx="243">
                  <c:v>2.3951945939181579E-2</c:v>
                </c:pt>
                <c:pt idx="244">
                  <c:v>3.1561109934335946E-2</c:v>
                </c:pt>
                <c:pt idx="245">
                  <c:v>2.8248786322380919E-2</c:v>
                </c:pt>
                <c:pt idx="246">
                  <c:v>2.3658969804618117E-2</c:v>
                </c:pt>
                <c:pt idx="247">
                  <c:v>3.6312714278815973E-2</c:v>
                </c:pt>
                <c:pt idx="248">
                  <c:v>5.4605809128630708E-2</c:v>
                </c:pt>
                <c:pt idx="249">
                  <c:v>2.3981468864967978E-2</c:v>
                </c:pt>
                <c:pt idx="250">
                  <c:v>1.7576050217286334E-2</c:v>
                </c:pt>
                <c:pt idx="251">
                  <c:v>1.995572422517394E-2</c:v>
                </c:pt>
                <c:pt idx="252">
                  <c:v>1.8357834349229114E-2</c:v>
                </c:pt>
                <c:pt idx="253">
                  <c:v>1.7415473384231082E-2</c:v>
                </c:pt>
                <c:pt idx="254">
                  <c:v>2.1534320323014805E-2</c:v>
                </c:pt>
                <c:pt idx="255">
                  <c:v>4.0663534938344098E-2</c:v>
                </c:pt>
                <c:pt idx="256">
                  <c:v>1.5269220466113046E-2</c:v>
                </c:pt>
                <c:pt idx="257">
                  <c:v>1.077635431157991E-2</c:v>
                </c:pt>
                <c:pt idx="258">
                  <c:v>1.3716468443441271E-2</c:v>
                </c:pt>
                <c:pt idx="259">
                  <c:v>1.170801125521524E-2</c:v>
                </c:pt>
                <c:pt idx="260">
                  <c:v>9.6643092578962524E-3</c:v>
                </c:pt>
                <c:pt idx="261">
                  <c:v>1.1843361986628463E-2</c:v>
                </c:pt>
                <c:pt idx="262">
                  <c:v>2.2222222222222223E-2</c:v>
                </c:pt>
                <c:pt idx="263">
                  <c:v>1.2503256056264652E-2</c:v>
                </c:pt>
                <c:pt idx="264">
                  <c:v>8.2883305940361588E-3</c:v>
                </c:pt>
                <c:pt idx="265">
                  <c:v>1.022079772079772E-2</c:v>
                </c:pt>
                <c:pt idx="266">
                  <c:v>8.4763197959099694E-3</c:v>
                </c:pt>
                <c:pt idx="267">
                  <c:v>9.0011499266426116E-3</c:v>
                </c:pt>
                <c:pt idx="268">
                  <c:v>8.9549483013293945E-3</c:v>
                </c:pt>
                <c:pt idx="269">
                  <c:v>1.5539161827028724E-2</c:v>
                </c:pt>
                <c:pt idx="270">
                  <c:v>8.9011663597298955E-3</c:v>
                </c:pt>
                <c:pt idx="271">
                  <c:v>6.0397124455490525E-3</c:v>
                </c:pt>
                <c:pt idx="272">
                  <c:v>8.791028221665366E-3</c:v>
                </c:pt>
                <c:pt idx="273">
                  <c:v>6.7422754063225579E-3</c:v>
                </c:pt>
                <c:pt idx="274">
                  <c:v>6.4069707842132244E-3</c:v>
                </c:pt>
                <c:pt idx="275">
                  <c:v>6.9342709248950089E-3</c:v>
                </c:pt>
                <c:pt idx="276">
                  <c:v>1.0211393765675385E-2</c:v>
                </c:pt>
                <c:pt idx="277">
                  <c:v>7.362414872078042E-3</c:v>
                </c:pt>
                <c:pt idx="278">
                  <c:v>4.3976591987257172E-3</c:v>
                </c:pt>
                <c:pt idx="279">
                  <c:v>7.7569143529663508E-3</c:v>
                </c:pt>
                <c:pt idx="280">
                  <c:v>5.4237288135593224E-3</c:v>
                </c:pt>
                <c:pt idx="281">
                  <c:v>4.2372881355932203E-3</c:v>
                </c:pt>
                <c:pt idx="282">
                  <c:v>3.9497307001795335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CB$7</c:f>
              <c:numCache>
                <c:formatCode>General</c:formatCode>
                <c:ptCount val="79"/>
                <c:pt idx="0">
                  <c:v>2452</c:v>
                </c:pt>
                <c:pt idx="1">
                  <c:v>2478</c:v>
                </c:pt>
                <c:pt idx="2">
                  <c:v>2667</c:v>
                </c:pt>
                <c:pt idx="3">
                  <c:v>2517</c:v>
                </c:pt>
                <c:pt idx="4">
                  <c:v>2343</c:v>
                </c:pt>
                <c:pt idx="5">
                  <c:v>2212</c:v>
                </c:pt>
                <c:pt idx="6">
                  <c:v>2118</c:v>
                </c:pt>
                <c:pt idx="7">
                  <c:v>1880</c:v>
                </c:pt>
                <c:pt idx="8">
                  <c:v>1861</c:v>
                </c:pt>
                <c:pt idx="9">
                  <c:v>1978</c:v>
                </c:pt>
                <c:pt idx="10">
                  <c:v>1821</c:v>
                </c:pt>
                <c:pt idx="11">
                  <c:v>1709</c:v>
                </c:pt>
                <c:pt idx="12">
                  <c:v>1611</c:v>
                </c:pt>
                <c:pt idx="13">
                  <c:v>1523</c:v>
                </c:pt>
                <c:pt idx="14">
                  <c:v>1325</c:v>
                </c:pt>
                <c:pt idx="15">
                  <c:v>1312</c:v>
                </c:pt>
                <c:pt idx="16">
                  <c:v>1392</c:v>
                </c:pt>
                <c:pt idx="17">
                  <c:v>1255</c:v>
                </c:pt>
                <c:pt idx="18">
                  <c:v>1147</c:v>
                </c:pt>
                <c:pt idx="19">
                  <c:v>1056</c:v>
                </c:pt>
                <c:pt idx="20">
                  <c:v>1008</c:v>
                </c:pt>
                <c:pt idx="21">
                  <c:v>865</c:v>
                </c:pt>
                <c:pt idx="22">
                  <c:v>846</c:v>
                </c:pt>
                <c:pt idx="23">
                  <c:v>877</c:v>
                </c:pt>
                <c:pt idx="24">
                  <c:v>786</c:v>
                </c:pt>
                <c:pt idx="25">
                  <c:v>760</c:v>
                </c:pt>
                <c:pt idx="26">
                  <c:v>669</c:v>
                </c:pt>
                <c:pt idx="27">
                  <c:v>611</c:v>
                </c:pt>
                <c:pt idx="28">
                  <c:v>515</c:v>
                </c:pt>
                <c:pt idx="29">
                  <c:v>514</c:v>
                </c:pt>
                <c:pt idx="30">
                  <c:v>551</c:v>
                </c:pt>
                <c:pt idx="31">
                  <c:v>477</c:v>
                </c:pt>
                <c:pt idx="32">
                  <c:v>441</c:v>
                </c:pt>
                <c:pt idx="33">
                  <c:v>394</c:v>
                </c:pt>
                <c:pt idx="34">
                  <c:v>366</c:v>
                </c:pt>
                <c:pt idx="35">
                  <c:v>303</c:v>
                </c:pt>
                <c:pt idx="36">
                  <c:v>301</c:v>
                </c:pt>
                <c:pt idx="37">
                  <c:v>301</c:v>
                </c:pt>
                <c:pt idx="38">
                  <c:v>282</c:v>
                </c:pt>
                <c:pt idx="39">
                  <c:v>254</c:v>
                </c:pt>
                <c:pt idx="40">
                  <c:v>233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14-4A00-9B4C-9F8EEC1A3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CB$2</c:f>
              <c:numCache>
                <c:formatCode>General</c:formatCode>
                <c:ptCount val="79"/>
                <c:pt idx="31">
                  <c:v>502.82615099999998</c:v>
                </c:pt>
                <c:pt idx="32">
                  <c:v>465.44454500000001</c:v>
                </c:pt>
                <c:pt idx="33">
                  <c:v>430.634704</c:v>
                </c:pt>
                <c:pt idx="34">
                  <c:v>397.92441600000001</c:v>
                </c:pt>
                <c:pt idx="35">
                  <c:v>367.65085099999999</c:v>
                </c:pt>
                <c:pt idx="36">
                  <c:v>340.55668700000001</c:v>
                </c:pt>
                <c:pt idx="37">
                  <c:v>315.42744900000002</c:v>
                </c:pt>
                <c:pt idx="38">
                  <c:v>291.20712900000001</c:v>
                </c:pt>
                <c:pt idx="39">
                  <c:v>268.36195900000001</c:v>
                </c:pt>
                <c:pt idx="40">
                  <c:v>247.00770700000001</c:v>
                </c:pt>
                <c:pt idx="41">
                  <c:v>227.118696</c:v>
                </c:pt>
                <c:pt idx="42">
                  <c:v>209.12903299999999</c:v>
                </c:pt>
                <c:pt idx="43">
                  <c:v>192.87002899999999</c:v>
                </c:pt>
                <c:pt idx="44">
                  <c:v>177.56007700000001</c:v>
                </c:pt>
                <c:pt idx="45">
                  <c:v>162.808536</c:v>
                </c:pt>
                <c:pt idx="46">
                  <c:v>149.02484000000001</c:v>
                </c:pt>
                <c:pt idx="47">
                  <c:v>136.230896</c:v>
                </c:pt>
                <c:pt idx="48">
                  <c:v>124.359826</c:v>
                </c:pt>
                <c:pt idx="49">
                  <c:v>113.33568200000001</c:v>
                </c:pt>
                <c:pt idx="50">
                  <c:v>103.20351100000001</c:v>
                </c:pt>
                <c:pt idx="51">
                  <c:v>93.612288500000005</c:v>
                </c:pt>
                <c:pt idx="52">
                  <c:v>84.605095500000004</c:v>
                </c:pt>
                <c:pt idx="53">
                  <c:v>76.208644899999996</c:v>
                </c:pt>
                <c:pt idx="54">
                  <c:v>68.342205800000002</c:v>
                </c:pt>
                <c:pt idx="55">
                  <c:v>60.959015399999998</c:v>
                </c:pt>
                <c:pt idx="56">
                  <c:v>54.053853699999998</c:v>
                </c:pt>
                <c:pt idx="57">
                  <c:v>47.655241400000001</c:v>
                </c:pt>
                <c:pt idx="58">
                  <c:v>41.5613186</c:v>
                </c:pt>
                <c:pt idx="59">
                  <c:v>35.954308699999999</c:v>
                </c:pt>
                <c:pt idx="60">
                  <c:v>30.677593600000002</c:v>
                </c:pt>
                <c:pt idx="61">
                  <c:v>25.6784535</c:v>
                </c:pt>
                <c:pt idx="62">
                  <c:v>20.964634799999999</c:v>
                </c:pt>
                <c:pt idx="63">
                  <c:v>16.632971999999999</c:v>
                </c:pt>
                <c:pt idx="64">
                  <c:v>12.5675375</c:v>
                </c:pt>
                <c:pt idx="65">
                  <c:v>8.7113642900000006</c:v>
                </c:pt>
                <c:pt idx="66">
                  <c:v>5.1209448100000001</c:v>
                </c:pt>
                <c:pt idx="67">
                  <c:v>1.79776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B14-4A00-9B4C-9F8EEC1A31E2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CB$3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B14-4A00-9B4C-9F8EEC1A31E2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CB$4</c:f>
              <c:numCache>
                <c:formatCode>General</c:formatCode>
                <c:ptCount val="79"/>
                <c:pt idx="31">
                  <c:v>503.97789799999998</c:v>
                </c:pt>
                <c:pt idx="32">
                  <c:v>468.53803399999998</c:v>
                </c:pt>
                <c:pt idx="33">
                  <c:v>436.12426799999997</c:v>
                </c:pt>
                <c:pt idx="34">
                  <c:v>406.05948000000001</c:v>
                </c:pt>
                <c:pt idx="35">
                  <c:v>378.745135</c:v>
                </c:pt>
                <c:pt idx="36">
                  <c:v>355.05964699999998</c:v>
                </c:pt>
                <c:pt idx="37">
                  <c:v>333.873446</c:v>
                </c:pt>
                <c:pt idx="38">
                  <c:v>314.05975100000001</c:v>
                </c:pt>
                <c:pt idx="39">
                  <c:v>295.87128999999999</c:v>
                </c:pt>
                <c:pt idx="40">
                  <c:v>279.32502299999999</c:v>
                </c:pt>
                <c:pt idx="41">
                  <c:v>264.31671299999999</c:v>
                </c:pt>
                <c:pt idx="42">
                  <c:v>251.335733</c:v>
                </c:pt>
                <c:pt idx="43">
                  <c:v>240.19736499999999</c:v>
                </c:pt>
                <c:pt idx="44">
                  <c:v>230.030765</c:v>
                </c:pt>
                <c:pt idx="45">
                  <c:v>220.364904</c:v>
                </c:pt>
                <c:pt idx="46">
                  <c:v>211.496477</c:v>
                </c:pt>
                <c:pt idx="47">
                  <c:v>203.44413700000001</c:v>
                </c:pt>
                <c:pt idx="48">
                  <c:v>196.176254</c:v>
                </c:pt>
                <c:pt idx="49">
                  <c:v>189.55929800000001</c:v>
                </c:pt>
                <c:pt idx="50">
                  <c:v>183.621837</c:v>
                </c:pt>
                <c:pt idx="51">
                  <c:v>178.03615500000001</c:v>
                </c:pt>
                <c:pt idx="52">
                  <c:v>172.78086300000001</c:v>
                </c:pt>
                <c:pt idx="53">
                  <c:v>167.87358499999999</c:v>
                </c:pt>
                <c:pt idx="54">
                  <c:v>163.27744000000001</c:v>
                </c:pt>
                <c:pt idx="55">
                  <c:v>158.93407300000001</c:v>
                </c:pt>
                <c:pt idx="56">
                  <c:v>154.84663399999999</c:v>
                </c:pt>
                <c:pt idx="57">
                  <c:v>151.021377</c:v>
                </c:pt>
                <c:pt idx="58">
                  <c:v>147.293238</c:v>
                </c:pt>
                <c:pt idx="59">
                  <c:v>143.79862800000001</c:v>
                </c:pt>
                <c:pt idx="60">
                  <c:v>140.449859</c:v>
                </c:pt>
                <c:pt idx="61">
                  <c:v>137.18829700000001</c:v>
                </c:pt>
                <c:pt idx="62">
                  <c:v>134.031327</c:v>
                </c:pt>
                <c:pt idx="63">
                  <c:v>131.055466</c:v>
                </c:pt>
                <c:pt idx="64">
                  <c:v>128.18436600000001</c:v>
                </c:pt>
                <c:pt idx="65">
                  <c:v>125.379295</c:v>
                </c:pt>
                <c:pt idx="66">
                  <c:v>122.677806</c:v>
                </c:pt>
                <c:pt idx="67">
                  <c:v>120.056788</c:v>
                </c:pt>
                <c:pt idx="68">
                  <c:v>117.529465</c:v>
                </c:pt>
                <c:pt idx="69">
                  <c:v>115.06716299999999</c:v>
                </c:pt>
                <c:pt idx="70">
                  <c:v>112.695024</c:v>
                </c:pt>
                <c:pt idx="71">
                  <c:v>110.380804</c:v>
                </c:pt>
                <c:pt idx="72">
                  <c:v>108.10055800000001</c:v>
                </c:pt>
                <c:pt idx="73">
                  <c:v>105.885927</c:v>
                </c:pt>
                <c:pt idx="74">
                  <c:v>103.74872999999999</c:v>
                </c:pt>
                <c:pt idx="75">
                  <c:v>101.661261</c:v>
                </c:pt>
                <c:pt idx="76">
                  <c:v>99.581150800000003</c:v>
                </c:pt>
                <c:pt idx="77">
                  <c:v>97.614035599999994</c:v>
                </c:pt>
                <c:pt idx="78">
                  <c:v>95.6641618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B14-4A00-9B4C-9F8EEC1A31E2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CB$6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B14-4A00-9B4C-9F8EEC1A3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CB$7</c:f>
              <c:numCache>
                <c:formatCode>General</c:formatCode>
                <c:ptCount val="79"/>
                <c:pt idx="0">
                  <c:v>551</c:v>
                </c:pt>
                <c:pt idx="1">
                  <c:v>557</c:v>
                </c:pt>
                <c:pt idx="2">
                  <c:v>562</c:v>
                </c:pt>
                <c:pt idx="3">
                  <c:v>541</c:v>
                </c:pt>
                <c:pt idx="4">
                  <c:v>499</c:v>
                </c:pt>
                <c:pt idx="5">
                  <c:v>464</c:v>
                </c:pt>
                <c:pt idx="6">
                  <c:v>441</c:v>
                </c:pt>
                <c:pt idx="7">
                  <c:v>413</c:v>
                </c:pt>
                <c:pt idx="8">
                  <c:v>419</c:v>
                </c:pt>
                <c:pt idx="9">
                  <c:v>425</c:v>
                </c:pt>
                <c:pt idx="10">
                  <c:v>402</c:v>
                </c:pt>
                <c:pt idx="11">
                  <c:v>377</c:v>
                </c:pt>
                <c:pt idx="12">
                  <c:v>367</c:v>
                </c:pt>
                <c:pt idx="13">
                  <c:v>341</c:v>
                </c:pt>
                <c:pt idx="14">
                  <c:v>308</c:v>
                </c:pt>
                <c:pt idx="15">
                  <c:v>303</c:v>
                </c:pt>
                <c:pt idx="16">
                  <c:v>295</c:v>
                </c:pt>
                <c:pt idx="17">
                  <c:v>279</c:v>
                </c:pt>
                <c:pt idx="18">
                  <c:v>249</c:v>
                </c:pt>
                <c:pt idx="19">
                  <c:v>217</c:v>
                </c:pt>
                <c:pt idx="20">
                  <c:v>191</c:v>
                </c:pt>
                <c:pt idx="21">
                  <c:v>187</c:v>
                </c:pt>
                <c:pt idx="22">
                  <c:v>185</c:v>
                </c:pt>
                <c:pt idx="23">
                  <c:v>180</c:v>
                </c:pt>
                <c:pt idx="24">
                  <c:v>160</c:v>
                </c:pt>
                <c:pt idx="25">
                  <c:v>153</c:v>
                </c:pt>
                <c:pt idx="26">
                  <c:v>144</c:v>
                </c:pt>
                <c:pt idx="27">
                  <c:v>125</c:v>
                </c:pt>
                <c:pt idx="28">
                  <c:v>112</c:v>
                </c:pt>
                <c:pt idx="29">
                  <c:v>112</c:v>
                </c:pt>
                <c:pt idx="30">
                  <c:v>117</c:v>
                </c:pt>
                <c:pt idx="31">
                  <c:v>98</c:v>
                </c:pt>
                <c:pt idx="32">
                  <c:v>90</c:v>
                </c:pt>
                <c:pt idx="33">
                  <c:v>83</c:v>
                </c:pt>
                <c:pt idx="34">
                  <c:v>71</c:v>
                </c:pt>
                <c:pt idx="35">
                  <c:v>59</c:v>
                </c:pt>
                <c:pt idx="36">
                  <c:v>59</c:v>
                </c:pt>
                <c:pt idx="37">
                  <c:v>58</c:v>
                </c:pt>
                <c:pt idx="38">
                  <c:v>59</c:v>
                </c:pt>
                <c:pt idx="39">
                  <c:v>53</c:v>
                </c:pt>
                <c:pt idx="40">
                  <c:v>5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A9-4351-9C12-604784CC2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CB$2</c:f>
              <c:numCache>
                <c:formatCode>General</c:formatCode>
                <c:ptCount val="79"/>
                <c:pt idx="31">
                  <c:v>108.216054</c:v>
                </c:pt>
                <c:pt idx="32">
                  <c:v>99.791412100000002</c:v>
                </c:pt>
                <c:pt idx="33">
                  <c:v>91.971402699999999</c:v>
                </c:pt>
                <c:pt idx="34">
                  <c:v>84.482604600000002</c:v>
                </c:pt>
                <c:pt idx="35">
                  <c:v>77.506805099999994</c:v>
                </c:pt>
                <c:pt idx="36">
                  <c:v>71.164896799999994</c:v>
                </c:pt>
                <c:pt idx="37">
                  <c:v>65.243038799999994</c:v>
                </c:pt>
                <c:pt idx="38">
                  <c:v>59.682898799999997</c:v>
                </c:pt>
                <c:pt idx="39">
                  <c:v>54.492189199999999</c:v>
                </c:pt>
                <c:pt idx="40">
                  <c:v>49.613094099999998</c:v>
                </c:pt>
                <c:pt idx="41">
                  <c:v>44.965345200000002</c:v>
                </c:pt>
                <c:pt idx="42">
                  <c:v>40.667104000000002</c:v>
                </c:pt>
                <c:pt idx="43">
                  <c:v>36.778024500000001</c:v>
                </c:pt>
                <c:pt idx="44">
                  <c:v>33.040102699999998</c:v>
                </c:pt>
                <c:pt idx="45">
                  <c:v>29.563642999999999</c:v>
                </c:pt>
                <c:pt idx="46">
                  <c:v>26.3252594</c:v>
                </c:pt>
                <c:pt idx="47">
                  <c:v>23.140514199999998</c:v>
                </c:pt>
                <c:pt idx="48">
                  <c:v>20.267273400000001</c:v>
                </c:pt>
                <c:pt idx="49">
                  <c:v>17.5508977</c:v>
                </c:pt>
                <c:pt idx="50">
                  <c:v>14.9197281</c:v>
                </c:pt>
                <c:pt idx="51">
                  <c:v>12.565903</c:v>
                </c:pt>
                <c:pt idx="52">
                  <c:v>10.253795800000001</c:v>
                </c:pt>
                <c:pt idx="53">
                  <c:v>8.0900785000000006</c:v>
                </c:pt>
                <c:pt idx="54">
                  <c:v>6.04372489</c:v>
                </c:pt>
                <c:pt idx="55">
                  <c:v>4.0957453299999997</c:v>
                </c:pt>
                <c:pt idx="56">
                  <c:v>2.33872692</c:v>
                </c:pt>
                <c:pt idx="57">
                  <c:v>0.62440333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5A9-4351-9C12-604784CC28DD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CB$3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5A9-4351-9C12-604784CC28DD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CB$4</c:f>
              <c:numCache>
                <c:formatCode>General</c:formatCode>
                <c:ptCount val="79"/>
                <c:pt idx="31">
                  <c:v>108.345489</c:v>
                </c:pt>
                <c:pt idx="32">
                  <c:v>100.152281</c:v>
                </c:pt>
                <c:pt idx="33">
                  <c:v>92.641355200000007</c:v>
                </c:pt>
                <c:pt idx="34">
                  <c:v>85.521567200000007</c:v>
                </c:pt>
                <c:pt idx="35">
                  <c:v>78.982847500000005</c:v>
                </c:pt>
                <c:pt idx="36">
                  <c:v>73.160313200000004</c:v>
                </c:pt>
                <c:pt idx="37">
                  <c:v>67.8558132</c:v>
                </c:pt>
                <c:pt idx="38">
                  <c:v>63.006656100000001</c:v>
                </c:pt>
                <c:pt idx="39">
                  <c:v>58.598275000000001</c:v>
                </c:pt>
                <c:pt idx="40">
                  <c:v>54.560571199999998</c:v>
                </c:pt>
                <c:pt idx="41">
                  <c:v>50.801782000000003</c:v>
                </c:pt>
                <c:pt idx="42">
                  <c:v>47.439826799999999</c:v>
                </c:pt>
                <c:pt idx="43">
                  <c:v>44.529173299999997</c:v>
                </c:pt>
                <c:pt idx="44">
                  <c:v>41.797348800000002</c:v>
                </c:pt>
                <c:pt idx="45">
                  <c:v>39.341598599999998</c:v>
                </c:pt>
                <c:pt idx="46">
                  <c:v>37.122095199999997</c:v>
                </c:pt>
                <c:pt idx="47">
                  <c:v>34.948284800000003</c:v>
                </c:pt>
                <c:pt idx="48">
                  <c:v>33.074871799999997</c:v>
                </c:pt>
                <c:pt idx="49">
                  <c:v>31.336528000000001</c:v>
                </c:pt>
                <c:pt idx="50">
                  <c:v>29.655785600000002</c:v>
                </c:pt>
                <c:pt idx="51">
                  <c:v>28.2244359</c:v>
                </c:pt>
                <c:pt idx="52">
                  <c:v>26.796647700000001</c:v>
                </c:pt>
                <c:pt idx="53">
                  <c:v>25.475558700000001</c:v>
                </c:pt>
                <c:pt idx="54">
                  <c:v>24.2320545</c:v>
                </c:pt>
                <c:pt idx="55">
                  <c:v>23.0434758</c:v>
                </c:pt>
                <c:pt idx="56">
                  <c:v>22.001704700000001</c:v>
                </c:pt>
                <c:pt idx="57">
                  <c:v>20.9554407</c:v>
                </c:pt>
                <c:pt idx="58">
                  <c:v>20.001618000000001</c:v>
                </c:pt>
                <c:pt idx="59">
                  <c:v>19.0711145</c:v>
                </c:pt>
                <c:pt idx="60">
                  <c:v>18.204523699999999</c:v>
                </c:pt>
                <c:pt idx="61">
                  <c:v>17.382268400000001</c:v>
                </c:pt>
                <c:pt idx="62">
                  <c:v>16.5664433</c:v>
                </c:pt>
                <c:pt idx="63">
                  <c:v>15.7835763</c:v>
                </c:pt>
                <c:pt idx="64">
                  <c:v>15.0303944</c:v>
                </c:pt>
                <c:pt idx="65">
                  <c:v>14.3266461</c:v>
                </c:pt>
                <c:pt idx="66">
                  <c:v>13.631684</c:v>
                </c:pt>
                <c:pt idx="67">
                  <c:v>12.975114</c:v>
                </c:pt>
                <c:pt idx="68">
                  <c:v>12.34618</c:v>
                </c:pt>
                <c:pt idx="69">
                  <c:v>11.7259191</c:v>
                </c:pt>
                <c:pt idx="70">
                  <c:v>11.1259295</c:v>
                </c:pt>
                <c:pt idx="71">
                  <c:v>10.547388400000001</c:v>
                </c:pt>
                <c:pt idx="72">
                  <c:v>9.9964870399999999</c:v>
                </c:pt>
                <c:pt idx="73">
                  <c:v>9.4551196300000004</c:v>
                </c:pt>
                <c:pt idx="74">
                  <c:v>8.9165794700000003</c:v>
                </c:pt>
                <c:pt idx="75">
                  <c:v>8.4241237699999996</c:v>
                </c:pt>
                <c:pt idx="76">
                  <c:v>7.9186102199999997</c:v>
                </c:pt>
                <c:pt idx="77">
                  <c:v>7.4517250400000004</c:v>
                </c:pt>
                <c:pt idx="78">
                  <c:v>6.98613533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5A9-4351-9C12-604784CC28DD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CB$6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5A9-4351-9C12-604784CC2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01124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5755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31935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60697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72994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95801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657710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84029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3550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94994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51707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68513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92867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15.png"/><Relationship Id="rId4" Type="http://schemas.openxmlformats.org/officeDocument/2006/relationships/image" Target="../media/image8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15.png"/><Relationship Id="rId4" Type="http://schemas.openxmlformats.org/officeDocument/2006/relationships/image" Target="../media/image8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svg"/><Relationship Id="rId5" Type="http://schemas.openxmlformats.org/officeDocument/2006/relationships/image" Target="../media/image20.png"/><Relationship Id="rId4" Type="http://schemas.openxmlformats.org/officeDocument/2006/relationships/image" Target="../media/image5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1.tmp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tmp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tmp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3.png"/><Relationship Id="rId4" Type="http://schemas.openxmlformats.org/officeDocument/2006/relationships/image" Target="../media/image9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1461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7649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268069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4583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1818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47138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68931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998204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2972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0042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732452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901270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484776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67789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06998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9889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07069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34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45469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4249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1499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8560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70465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5682686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53531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6199952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61375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10318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703255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10265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9176493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99614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85536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788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2.06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2.06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jpeg"/><Relationship Id="rId5" Type="http://schemas.openxmlformats.org/officeDocument/2006/relationships/theme" Target="../theme/theme2.xml"/><Relationship Id="rId10" Type="http://schemas.openxmlformats.org/officeDocument/2006/relationships/image" Target="../media/image13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5.sv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8.sv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1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316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704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7417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53295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076440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slideLayout" Target="../slideLayouts/slideLayout14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1.xml"/><Relationship Id="rId4" Type="http://schemas.openxmlformats.org/officeDocument/2006/relationships/chart" Target="../charts/char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2.xml"/><Relationship Id="rId4" Type="http://schemas.openxmlformats.org/officeDocument/2006/relationships/image" Target="../media/image24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36.xml"/><Relationship Id="rId7" Type="http://schemas.openxmlformats.org/officeDocument/2006/relationships/slideLayout" Target="../slideLayouts/slideLayout20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chart" Target="../charts/chart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4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chart" Target="../charts/chart7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4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40.xml"/><Relationship Id="rId4" Type="http://schemas.openxmlformats.org/officeDocument/2006/relationships/tags" Target="../tags/tag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chart" Target="../charts/chart2.xml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chart" Target="../charts/chart3.xml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83F2619C-2DA8-4BC3-A3D0-39A02F3F71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547540"/>
              </p:ext>
            </p:extLst>
          </p:nvPr>
        </p:nvGraphicFramePr>
        <p:xfrm>
          <a:off x="424200" y="4023587"/>
          <a:ext cx="11343600" cy="16689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43600">
                  <a:extLst>
                    <a:ext uri="{9D8B030D-6E8A-4147-A177-3AD203B41FA5}">
                      <a16:colId xmlns:a16="http://schemas.microsoft.com/office/drawing/2014/main" val="264965848"/>
                    </a:ext>
                  </a:extLst>
                </a:gridCol>
              </a:tblGrid>
              <a:tr h="983177">
                <a:tc>
                  <a:txBody>
                    <a:bodyPr/>
                    <a:lstStyle/>
                    <a:p>
                      <a:pPr algn="ctr"/>
                      <a:r>
                        <a:rPr lang="cs-CZ" sz="5400" b="1"/>
                        <a:t>Stručný souhrn stávajícího stavu</a:t>
                      </a:r>
                      <a:endParaRPr lang="cs-CZ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4059818"/>
                  </a:ext>
                </a:extLst>
              </a:tr>
              <a:tr h="5672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900" b="1" i="1"/>
                        <a:t>- dne 12.06.2021 -</a:t>
                      </a:r>
                      <a:endParaRPr lang="cs-CZ" sz="3900" b="1" i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19906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09900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423862" y="3931234"/>
            <a:ext cx="11344275" cy="1974265"/>
          </a:xfrm>
        </p:spPr>
        <p:txBody>
          <a:bodyPr>
            <a:normAutofit fontScale="92500"/>
          </a:bodyPr>
          <a:lstStyle/>
          <a:p>
            <a:r>
              <a:rPr lang="cs-CZ" sz="5400" b="1" dirty="0"/>
              <a:t>Nově pozitivně diagnostikovaní </a:t>
            </a:r>
          </a:p>
          <a:p>
            <a:r>
              <a:rPr lang="cs-CZ" sz="5400" b="1" dirty="0"/>
              <a:t>– rozbor testů vedoucích k diagnóze</a:t>
            </a:r>
            <a:endParaRPr lang="cs-CZ" sz="3900" b="1" i="1" dirty="0"/>
          </a:p>
        </p:txBody>
      </p:sp>
    </p:spTree>
    <p:extLst>
      <p:ext uri="{BB962C8B-B14F-4D97-AF65-F5344CB8AC3E}">
        <p14:creationId xmlns:p14="http://schemas.microsoft.com/office/powerpoint/2010/main" val="8811629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Typologie pozitivních případů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F65D85B-1235-470B-97CB-79FE65D6B769}"/>
              </a:ext>
            </a:extLst>
          </p:cNvPr>
          <p:cNvCxnSpPr/>
          <p:nvPr/>
        </p:nvCxnSpPr>
        <p:spPr>
          <a:xfrm>
            <a:off x="6053207" y="809564"/>
            <a:ext cx="11502" cy="4708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Table 5">
            <a:extLst>
              <a:ext uri="{FF2B5EF4-FFF2-40B4-BE49-F238E27FC236}">
                <a16:creationId xmlns:a16="http://schemas.microsoft.com/office/drawing/2014/main" id="{1A127E2E-74EA-446F-8753-89FC21F5FA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93690"/>
              </p:ext>
            </p:extLst>
          </p:nvPr>
        </p:nvGraphicFramePr>
        <p:xfrm>
          <a:off x="285832" y="547721"/>
          <a:ext cx="6043581" cy="5683390"/>
        </p:xfrm>
        <a:graphic>
          <a:graphicData uri="http://schemas.openxmlformats.org/drawingml/2006/table">
            <a:tbl>
              <a:tblPr/>
              <a:tblGrid>
                <a:gridCol w="74187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6932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9254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853133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06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80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158 (87,8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73 (40,6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85 (47,2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22 (12,2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12 (6,7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 (5,6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41" name="Skupina 40">
            <a:extLst>
              <a:ext uri="{FF2B5EF4-FFF2-40B4-BE49-F238E27FC236}">
                <a16:creationId xmlns:a16="http://schemas.microsoft.com/office/drawing/2014/main" id="{67E718B0-D805-4F0A-A2D9-973B2454D5C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404159" y="1743959"/>
            <a:ext cx="920978" cy="3914685"/>
            <a:chOff x="404159" y="1866838"/>
            <a:chExt cx="920978" cy="3351365"/>
          </a:xfrm>
        </p:grpSpPr>
        <p:cxnSp>
          <p:nvCxnSpPr>
            <p:cNvPr id="47" name="Connector: Elbow 27">
              <a:extLst>
                <a:ext uri="{FF2B5EF4-FFF2-40B4-BE49-F238E27FC236}">
                  <a16:creationId xmlns:a16="http://schemas.microsoft.com/office/drawing/2014/main" id="{EE1BC2F1-8FA3-4CB7-A65D-01605921EF18}"/>
                </a:ext>
              </a:extLst>
            </p:cNvPr>
            <p:cNvCxnSpPr>
              <a:cxnSpLocks/>
              <a:stCxn id="57" idx="2"/>
              <a:endCxn id="60" idx="2"/>
            </p:cNvCxnSpPr>
            <p:nvPr>
              <p:custDataLst>
                <p:tags r:id="rId8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or: Elbow 28">
              <a:extLst>
                <a:ext uri="{FF2B5EF4-FFF2-40B4-BE49-F238E27FC236}">
                  <a16:creationId xmlns:a16="http://schemas.microsoft.com/office/drawing/2014/main" id="{0A91E232-C7CE-4D15-916A-0461B3434166}"/>
                </a:ext>
              </a:extLst>
            </p:cNvPr>
            <p:cNvCxnSpPr>
              <a:cxnSpLocks/>
              <a:stCxn id="76" idx="2"/>
              <a:endCxn id="58" idx="2"/>
            </p:cNvCxnSpPr>
            <p:nvPr>
              <p:custDataLst>
                <p:tags r:id="rId9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or: Elbow 29">
              <a:extLst>
                <a:ext uri="{FF2B5EF4-FFF2-40B4-BE49-F238E27FC236}">
                  <a16:creationId xmlns:a16="http://schemas.microsoft.com/office/drawing/2014/main" id="{51E69D21-290A-4C75-ABAF-6603101A1BDA}"/>
                </a:ext>
              </a:extLst>
            </p:cNvPr>
            <p:cNvCxnSpPr>
              <a:cxnSpLocks/>
              <a:stCxn id="76" idx="2"/>
              <a:endCxn id="59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30">
              <a:extLst>
                <a:ext uri="{FF2B5EF4-FFF2-40B4-BE49-F238E27FC236}">
                  <a16:creationId xmlns:a16="http://schemas.microsoft.com/office/drawing/2014/main" id="{D5A1B002-700B-428B-B6B2-7ABE2F7E2D5D}"/>
                </a:ext>
              </a:extLst>
            </p:cNvPr>
            <p:cNvCxnSpPr>
              <a:cxnSpLocks/>
              <a:stCxn id="60" idx="2"/>
              <a:endCxn id="74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or: Elbow 31">
              <a:extLst>
                <a:ext uri="{FF2B5EF4-FFF2-40B4-BE49-F238E27FC236}">
                  <a16:creationId xmlns:a16="http://schemas.microsoft.com/office/drawing/2014/main" id="{41840207-9B3F-46F3-A2A0-72EA1C5F95FC}"/>
                </a:ext>
              </a:extLst>
            </p:cNvPr>
            <p:cNvCxnSpPr>
              <a:cxnSpLocks/>
              <a:stCxn id="60" idx="2"/>
              <a:endCxn id="75" idx="2"/>
            </p:cNvCxnSpPr>
            <p:nvPr>
              <p:custDataLst>
                <p:tags r:id="rId10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7">
              <a:extLst>
                <a:ext uri="{FF2B5EF4-FFF2-40B4-BE49-F238E27FC236}">
                  <a16:creationId xmlns:a16="http://schemas.microsoft.com/office/drawing/2014/main" id="{DEFCBE29-8A8A-403F-87FC-6E964EECF435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Oval 36">
              <a:extLst>
                <a:ext uri="{FF2B5EF4-FFF2-40B4-BE49-F238E27FC236}">
                  <a16:creationId xmlns:a16="http://schemas.microsoft.com/office/drawing/2014/main" id="{EFB45541-6952-4AB8-8984-D4903D966A5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Oval 37">
              <a:extLst>
                <a:ext uri="{FF2B5EF4-FFF2-40B4-BE49-F238E27FC236}">
                  <a16:creationId xmlns:a16="http://schemas.microsoft.com/office/drawing/2014/main" id="{2143FA77-D84E-4803-A4CF-57C6A2280DBC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Oval 51">
              <a:extLst>
                <a:ext uri="{FF2B5EF4-FFF2-40B4-BE49-F238E27FC236}">
                  <a16:creationId xmlns:a16="http://schemas.microsoft.com/office/drawing/2014/main" id="{2C16C17A-1A40-4E38-8341-353E1F4A8244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Oval 52">
              <a:extLst>
                <a:ext uri="{FF2B5EF4-FFF2-40B4-BE49-F238E27FC236}">
                  <a16:creationId xmlns:a16="http://schemas.microsoft.com/office/drawing/2014/main" id="{A6EDEF7D-BF1B-4696-8813-4124510BFD1D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Oval 53">
              <a:extLst>
                <a:ext uri="{FF2B5EF4-FFF2-40B4-BE49-F238E27FC236}">
                  <a16:creationId xmlns:a16="http://schemas.microsoft.com/office/drawing/2014/main" id="{43050E38-D6EA-4630-BC45-913F50C6A86D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val 54">
              <a:extLst>
                <a:ext uri="{FF2B5EF4-FFF2-40B4-BE49-F238E27FC236}">
                  <a16:creationId xmlns:a16="http://schemas.microsoft.com/office/drawing/2014/main" id="{D8240F72-BDE6-4A9E-9A16-AC6F7259A476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77" name="Connector: Elbow 55">
              <a:extLst>
                <a:ext uri="{FF2B5EF4-FFF2-40B4-BE49-F238E27FC236}">
                  <a16:creationId xmlns:a16="http://schemas.microsoft.com/office/drawing/2014/main" id="{A8588F7C-BDAF-43FA-851B-A355AA22B9BB}"/>
                </a:ext>
              </a:extLst>
            </p:cNvPr>
            <p:cNvCxnSpPr>
              <a:cxnSpLocks/>
              <a:stCxn id="57" idx="2"/>
              <a:endCxn id="76" idx="2"/>
            </p:cNvCxnSpPr>
            <p:nvPr>
              <p:custDataLst>
                <p:tags r:id="rId12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6" name="Table 5">
            <a:extLst>
              <a:ext uri="{FF2B5EF4-FFF2-40B4-BE49-F238E27FC236}">
                <a16:creationId xmlns:a16="http://schemas.microsoft.com/office/drawing/2014/main" id="{5807A9AF-0A00-42FE-B9CC-186084E81A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9350786"/>
              </p:ext>
            </p:extLst>
          </p:nvPr>
        </p:nvGraphicFramePr>
        <p:xfrm>
          <a:off x="6312560" y="547721"/>
          <a:ext cx="5810430" cy="5683390"/>
        </p:xfrm>
        <a:graphic>
          <a:graphicData uri="http://schemas.openxmlformats.org/drawingml/2006/table">
            <a:tbl>
              <a:tblPr/>
              <a:tblGrid>
                <a:gridCol w="71325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5893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2339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665907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5.2021–6.6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 330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1 992 (85,5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945 (40,6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1 047 (44,9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338 (14,5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169 (7,3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69 (7,3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79" name="Skupina 78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430887" y="1743959"/>
            <a:ext cx="920978" cy="3914685"/>
            <a:chOff x="404159" y="1866838"/>
            <a:chExt cx="920978" cy="3351365"/>
          </a:xfrm>
        </p:grpSpPr>
        <p:cxnSp>
          <p:nvCxnSpPr>
            <p:cNvPr id="80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85" idx="2"/>
              <a:endCxn id="88" idx="2"/>
            </p:cNvCxnSpPr>
            <p:nvPr>
              <p:custDataLst>
                <p:tags r:id="rId3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91" idx="2"/>
              <a:endCxn id="86" idx="2"/>
            </p:cNvCxnSpPr>
            <p:nvPr>
              <p:custDataLst>
                <p:tags r:id="rId4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91" idx="2"/>
              <a:endCxn id="87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88" idx="2"/>
              <a:endCxn id="89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88" idx="2"/>
              <a:endCxn id="90" idx="2"/>
            </p:cNvCxnSpPr>
            <p:nvPr>
              <p:custDataLst>
                <p:tags r:id="rId5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9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92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85" idx="2"/>
              <a:endCxn id="91" idx="2"/>
            </p:cNvCxnSpPr>
            <p:nvPr>
              <p:custDataLst>
                <p:tags r:id="rId7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906960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</a:t>
            </a:r>
            <a:r>
              <a:rPr lang="cs-CZ" dirty="0" smtClean="0"/>
              <a:t>a klin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8855563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0F93D59F-3D74-4F50-8E46-8F3466E0EB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8122592"/>
              </p:ext>
            </p:extLst>
          </p:nvPr>
        </p:nvGraphicFramePr>
        <p:xfrm>
          <a:off x="1599844" y="501556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507566" y="2628675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37469368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4811747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B4B1473A-D796-461B-B5B3-C8F0CE67A1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5678477"/>
              </p:ext>
            </p:extLst>
          </p:nvPr>
        </p:nvGraphicFramePr>
        <p:xfrm>
          <a:off x="1618505" y="492224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6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526227" y="2619343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10314078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Počty testů dle indikace a účelu: 5. 6.–11. 6.</a:t>
            </a:r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034" y="706078"/>
            <a:ext cx="11391900" cy="5949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1380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3931234"/>
            <a:ext cx="11344275" cy="1974265"/>
          </a:xfrm>
        </p:spPr>
        <p:txBody>
          <a:bodyPr>
            <a:normAutofit/>
          </a:bodyPr>
          <a:lstStyle/>
          <a:p>
            <a:r>
              <a:rPr lang="cs-CZ" sz="5400" b="1" dirty="0"/>
              <a:t>Zátěž nemocnic </a:t>
            </a:r>
            <a:endParaRPr lang="cs-CZ" sz="3900" b="1" i="1" dirty="0"/>
          </a:p>
        </p:txBody>
      </p:sp>
    </p:spTree>
    <p:extLst>
      <p:ext uri="{BB962C8B-B14F-4D97-AF65-F5344CB8AC3E}">
        <p14:creationId xmlns:p14="http://schemas.microsoft.com/office/powerpoint/2010/main" val="2373655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DE00F8A4-8378-4DC6-B59B-4B057B3969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980371"/>
              </p:ext>
            </p:extLst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Z" sz="4000" b="1" dirty="0"/>
              <a:t>Aktuální </a:t>
            </a:r>
            <a:r>
              <a:rPr lang="cs-CZ" sz="4000" b="1" dirty="0"/>
              <a:t>počty </a:t>
            </a:r>
            <a:r>
              <a:rPr lang="en-CZ" sz="4000" b="1" dirty="0"/>
              <a:t>hospitalizovaných</a:t>
            </a:r>
            <a:r>
              <a:rPr lang="cs-CZ" sz="4000" b="1" dirty="0"/>
              <a:t> pacientů klesají</a:t>
            </a:r>
            <a:br>
              <a:rPr lang="cs-CZ" sz="4000" b="1" dirty="0"/>
            </a:br>
            <a:r>
              <a:rPr lang="cs-CZ" sz="4000" b="1" dirty="0"/>
              <a:t>a roste i dostupná kapacita lůžek, včetně JIP</a:t>
            </a:r>
            <a:endParaRPr lang="cs-CZ" sz="4000" dirty="0"/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532237FB-8BB2-4361-8071-E774421C8E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3156344"/>
              </p:ext>
            </p:extLst>
          </p:nvPr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.06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0248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Chart 11">
            <a:extLst>
              <a:ext uri="{FF2B5EF4-FFF2-40B4-BE49-F238E27FC236}">
                <a16:creationId xmlns:a16="http://schemas.microsoft.com/office/drawing/2014/main" id="{BBD5237A-AC5F-4DC8-A25F-195F6352F6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4019899"/>
              </p:ext>
            </p:extLst>
          </p:nvPr>
        </p:nvGraphicFramePr>
        <p:xfrm>
          <a:off x="386622" y="1863980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5" name="Skupina 24">
            <a:extLst>
              <a:ext uri="{FF2B5EF4-FFF2-40B4-BE49-F238E27FC236}">
                <a16:creationId xmlns:a16="http://schemas.microsoft.com/office/drawing/2014/main" id="{F1E29AA3-5156-427F-B2C1-D2E12C92F6C2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10043036" y="4132815"/>
            <a:ext cx="1900937" cy="954107"/>
            <a:chOff x="10258697" y="3526984"/>
            <a:chExt cx="1900937" cy="954107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12AFE89-D298-4590-BA62-418EF54DFC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6DFDDB18-B447-4EBF-9692-3FE08A7B92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FEAB3C5E-988C-4976-BDE0-94F78D098E4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17FCD1B8-AF59-4256-8A7E-355DD95C89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endParaRPr lang="cs-CZ" sz="1400" dirty="0" smtClean="0"/>
            </a:p>
            <a:p>
              <a:r>
                <a:rPr lang="cs-CZ" sz="1400" dirty="0" smtClean="0"/>
                <a:t>R </a:t>
              </a:r>
              <a:r>
                <a:rPr lang="cs-CZ" sz="1400" dirty="0"/>
                <a:t>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Table 1">
            <a:extLst>
              <a:ext uri="{FF2B5EF4-FFF2-40B4-BE49-F238E27FC236}">
                <a16:creationId xmlns:a16="http://schemas.microsoft.com/office/drawing/2014/main" id="{22FB7F23-12C0-495A-8084-DDD74ED87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7206500"/>
              </p:ext>
            </p:extLst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 5.–13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 5.–20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 5.–27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5.–3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6.–10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1 případů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0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5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9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1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7664371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Chart 11">
            <a:extLst>
              <a:ext uri="{FF2B5EF4-FFF2-40B4-BE49-F238E27FC236}">
                <a16:creationId xmlns:a16="http://schemas.microsoft.com/office/drawing/2014/main" id="{C339E20A-C935-462E-82AF-6CCF7E0FD7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8764921"/>
              </p:ext>
            </p:extLst>
          </p:nvPr>
        </p:nvGraphicFramePr>
        <p:xfrm>
          <a:off x="557348" y="1855142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6" name="Skupina 25">
            <a:extLst>
              <a:ext uri="{FF2B5EF4-FFF2-40B4-BE49-F238E27FC236}">
                <a16:creationId xmlns:a16="http://schemas.microsoft.com/office/drawing/2014/main" id="{8C2D4D41-0A31-40B4-B634-F96D58FDA3D0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10043036" y="4123977"/>
            <a:ext cx="1900937" cy="954107"/>
            <a:chOff x="10258697" y="3526984"/>
            <a:chExt cx="1900937" cy="954107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030909B-B37D-4EEB-8455-E69A028473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878E8D6-CE74-4CE0-BD80-95C939A90F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986F9815-15AC-470D-A846-DC4140958B9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1F7DF2DE-CB74-47C8-A38A-905DE08F66C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endParaRPr lang="cs-CZ" sz="1400" dirty="0" smtClean="0"/>
            </a:p>
            <a:p>
              <a:r>
                <a:rPr lang="cs-CZ" sz="1400" dirty="0" smtClean="0"/>
                <a:t>R </a:t>
              </a:r>
              <a:r>
                <a:rPr lang="cs-CZ" sz="1400" dirty="0"/>
                <a:t>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Table 42">
            <a:extLst>
              <a:ext uri="{FF2B5EF4-FFF2-40B4-BE49-F238E27FC236}">
                <a16:creationId xmlns:a16="http://schemas.microsoft.com/office/drawing/2014/main" id="{5BF429C8-FCDB-416E-9D68-C8A8F4AD2B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8113137"/>
              </p:ext>
            </p:extLst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 5.–13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 5.–20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 5.–27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5.–3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6.–10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0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8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4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9683848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54132" y="1910823"/>
            <a:ext cx="11820525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</a:t>
            </a: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0 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itivita indikovaných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ů dosáhla velmi nízkých a bezpečných hodnot.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ý je i pokles nově nakažených potenciálně zranitelných skupin obyvatel. Reprodukční číslo osciluje mezi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65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75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nadále patrný u všech věkových kategorií dětí i dospělých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339526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stále zpomaluje, rovněž klesá zátěž nemocnic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339525" y="454259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339525" y="6053254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8529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9554610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E16903A1-EAD0-4B99-9333-0A0533BEA4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0255644"/>
              </p:ext>
            </p:extLst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5.–14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. 5.–2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2. 5.–2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5.–4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6.–11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2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8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5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Šipka doprava 58">
            <a:extLst>
              <a:ext uri="{FF2B5EF4-FFF2-40B4-BE49-F238E27FC236}">
                <a16:creationId xmlns:a16="http://schemas.microsoft.com/office/drawing/2014/main" id="{F4560E84-2F4A-4BEA-BD3C-44D5B82984B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697074" flipV="1">
            <a:off x="11149669" y="5298909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38633075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</a:t>
            </a:r>
            <a:r>
              <a:rPr lang="cs-CZ" dirty="0" smtClean="0"/>
              <a:t>regionů /14denní okno/</a:t>
            </a:r>
            <a:endParaRPr lang="cs-CZ" dirty="0"/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630" y="702782"/>
            <a:ext cx="11963400" cy="623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8931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</a:t>
            </a:r>
            <a:r>
              <a:rPr lang="cs-CZ" dirty="0" smtClean="0"/>
              <a:t>regionů /7denní okno/</a:t>
            </a:r>
            <a:endParaRPr lang="cs-CZ" dirty="0"/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623" y="643128"/>
            <a:ext cx="11963400" cy="621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913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0" y="1972805"/>
            <a:ext cx="11910383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echny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y klesly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ě pod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ci týdenních záchytů nákazy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/100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s. obyvatel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cí kumulativních týdenních záchytů 25/100 tis. obyv.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tím neklesly kraje JHČ, ZLK, LBK. Těsně nad touto hranicí týdenních záchytů zůstává MSK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zi regiony se postupně zmenšují rozdíly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celkové virové zátěži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088513" y="329980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088512" y="5769889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41813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</a:t>
            </a:r>
            <a:r>
              <a:rPr lang="pl-PL" dirty="0" smtClean="0"/>
              <a:t>12</a:t>
            </a:r>
            <a:r>
              <a:rPr lang="cs-CZ" dirty="0" smtClean="0"/>
              <a:t>.6</a:t>
            </a:r>
            <a:r>
              <a:rPr lang="cs-CZ" dirty="0"/>
              <a:t>.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908621" y="1364246"/>
            <a:ext cx="4986068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zdíly mezi regiony se postupně zmenšu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cí trend je významný ve všech krají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omě JČK, klesly všechny kraje pod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počet nových případů 25/100tis. obyv. </a:t>
            </a: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 5 krajů kleslo</a:t>
            </a:r>
            <a:r>
              <a:rPr kumimoji="0" lang="cs-CZ" sz="20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d hodnotu 12,5/100 tis. obyv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65102511"/>
              </p:ext>
            </p:extLst>
          </p:nvPr>
        </p:nvGraphicFramePr>
        <p:xfrm>
          <a:off x="579564" y="1033447"/>
          <a:ext cx="6019644" cy="5181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64525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502559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852560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</a:tblGrid>
              <a:tr h="166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 kraje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denní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.1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3.9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76250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.5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9.4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9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 město Prah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9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.4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7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1.5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2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.4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9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.2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641128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.6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.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.2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.1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2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.7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.3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.5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2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.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8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5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7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5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.0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302242" y="5683983"/>
            <a:ext cx="4788389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á hodnota za ČR pokles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ípadů / 100 tis. obyv. za 7 dní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6772810" y="5727635"/>
            <a:ext cx="457200" cy="66423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75142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2449600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844745" y="1993208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18D565F0-1BD2-43FA-8863-181FE314DD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1810892"/>
              </p:ext>
            </p:extLst>
          </p:nvPr>
        </p:nvGraphicFramePr>
        <p:xfrm>
          <a:off x="4539343" y="1318755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000" b="1" dirty="0">
                <a:solidFill>
                  <a:prstClr val="black"/>
                </a:solidFill>
              </a:rPr>
              <a:t>Počty nově potvrzených případů v </a:t>
            </a:r>
            <a:r>
              <a:rPr lang="cs-CZ" sz="3000" b="1" dirty="0" err="1">
                <a:solidFill>
                  <a:prstClr val="black"/>
                </a:solidFill>
              </a:rPr>
              <a:t>seniorní</a:t>
            </a:r>
            <a:r>
              <a:rPr lang="cs-CZ" sz="3000" b="1" dirty="0">
                <a:solidFill>
                  <a:prstClr val="black"/>
                </a:solidFill>
              </a:rPr>
              <a:t> populaci velmi významně klesají. Jde jednoznačně o důsledek postupující vakcinace. </a:t>
            </a:r>
            <a:endParaRPr lang="cs-CZ" sz="3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72237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9AF1149A-F1B9-4CB9-B9E4-22E79827FF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3730588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757E2A2A-AB0C-4E9F-9905-4436AE58ACB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074005" y="1993208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pulace seniorů 7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49A1EC79-4ED3-490D-AFF0-EAD902E06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3625794"/>
              </p:ext>
            </p:extLst>
          </p:nvPr>
        </p:nvGraphicFramePr>
        <p:xfrm>
          <a:off x="4604657" y="1318755"/>
          <a:ext cx="6581655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338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84317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7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0F2B6EF9-D569-4BAE-B545-E34BCC4C24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000" b="1" dirty="0">
                <a:solidFill>
                  <a:prstClr val="black"/>
                </a:solidFill>
              </a:rPr>
              <a:t>Počty nově potvrzených případů v </a:t>
            </a:r>
            <a:r>
              <a:rPr lang="cs-CZ" sz="3000" b="1" dirty="0" err="1">
                <a:solidFill>
                  <a:prstClr val="black"/>
                </a:solidFill>
              </a:rPr>
              <a:t>seniorní</a:t>
            </a:r>
            <a:r>
              <a:rPr lang="cs-CZ" sz="3000" b="1" dirty="0">
                <a:solidFill>
                  <a:prstClr val="black"/>
                </a:solidFill>
              </a:rPr>
              <a:t> populaci velmi významně klesají. Jde jednoznačně o důsledek postupující vakcinace. </a:t>
            </a:r>
            <a:endParaRPr lang="cs-CZ" sz="3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616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46</Words>
  <Application>Microsoft Office PowerPoint</Application>
  <PresentationFormat>Širokoúhlá obrazovka</PresentationFormat>
  <Paragraphs>280</Paragraphs>
  <Slides>18</Slides>
  <Notes>13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6</vt:i4>
      </vt:variant>
      <vt:variant>
        <vt:lpstr>Nadpisy snímků</vt:lpstr>
      </vt:variant>
      <vt:variant>
        <vt:i4>18</vt:i4>
      </vt:variant>
    </vt:vector>
  </HeadingPairs>
  <TitlesOfParts>
    <vt:vector size="29" baseType="lpstr">
      <vt:lpstr>Arial</vt:lpstr>
      <vt:lpstr>Arial (Základní text)</vt:lpstr>
      <vt:lpstr>Calibri</vt:lpstr>
      <vt:lpstr>Calibri Light</vt:lpstr>
      <vt:lpstr>Times New Roman</vt:lpstr>
      <vt:lpstr>Motiv Office</vt:lpstr>
      <vt:lpstr>1_Motiv systému Office</vt:lpstr>
      <vt:lpstr>1_Motiv Office</vt:lpstr>
      <vt:lpstr>3_Motiv Office</vt:lpstr>
      <vt:lpstr>2_Motiv Office</vt:lpstr>
      <vt:lpstr>7_Motiv Office</vt:lpstr>
      <vt:lpstr>Datová a informační základna  pro management pandemie COVID-19</vt:lpstr>
      <vt:lpstr>Prezentace aplikace PowerPoint</vt:lpstr>
      <vt:lpstr>Prezentace aplikace PowerPoint</vt:lpstr>
      <vt:lpstr>Vybrané ukazatele – srovnání regionů /14denní okno/</vt:lpstr>
      <vt:lpstr>Vybrané ukazatele – srovnání regionů /7denní okno/</vt:lpstr>
      <vt:lpstr>Prezentace aplikace PowerPoint</vt:lpstr>
      <vt:lpstr>Zátěž regionů ve vzájemném srovnání krajů k 12.6.</vt:lpstr>
      <vt:lpstr>Prezentace aplikace PowerPoint</vt:lpstr>
      <vt:lpstr>Prezentace aplikace PowerPoint</vt:lpstr>
      <vt:lpstr>Datová a informační základna  pro management pandemie COVID-19</vt:lpstr>
      <vt:lpstr>Typologie pozitivních případů</vt:lpstr>
      <vt:lpstr>Podíl pozitivních testů: diagnostické a klinické indikace </vt:lpstr>
      <vt:lpstr>Podíl pozitivních testů: epidemiologické indikace</vt:lpstr>
      <vt:lpstr>Počty testů dle indikace a účelu: 5. 6.–11. 6.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2-04T08:39:59Z</dcterms:created>
  <dcterms:modified xsi:type="dcterms:W3CDTF">2021-06-12T05:46:21Z</dcterms:modified>
</cp:coreProperties>
</file>